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C1BEDBE9-3E03-4E6D-93D3-CC154FB0B817}">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Lst>
        </p14:section>
        <p14:section name="Sector Shelf Price/Vol Comparison" id="{714F78D9-A455-4702-9520-4156357EA87E}">
          <p14:sldIdLst>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Lst>
        </p14:section>
        <p14:section name="Segment Avg Price/Vol Comparison" id="{25D7FA35-3588-445D-8BD2-81C3B9F6A63F}">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Lst>
        </p14:section>
        <p14:section name="Segment Shelf Price/Vol Comparison" id="{B7C9DF13-4212-4ADA-A234-BC84B7C3120B}">
          <p14:sldIdLst>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notesMaster" Target="notesMasters/notesMaster1.xml"/><Relationship Id="rId86" Type="http://schemas.openxmlformats.org/officeDocument/2006/relationships/presProps" Target="presProps.xml"/><Relationship Id="rId87" Type="http://schemas.openxmlformats.org/officeDocument/2006/relationships/viewProps" Target="viewProps.xml"/><Relationship Id="rId88" Type="http://schemas.openxmlformats.org/officeDocument/2006/relationships/theme" Target="theme/theme1.xml"/><Relationship Id="rId89" Type="http://schemas.openxmlformats.org/officeDocument/2006/relationships/tableStyles" Target="tableStyles.xml"/><Relationship Id="rId9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6</c:v>
                </c:pt>
              </c:strCache>
            </c:strRef>
          </c:cat>
          <c:val>
            <c:numRef>
              <c:f>Sheet1!$B$2:$B$2</c:f>
              <c:numCache>
                <c:formatCode>General</c:formatCode>
                <c:ptCount val="1"/>
                <c:pt idx="0">
                  <c:v>2435.2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6</a:t>
                    </a:r>
                  </a:p>
                  <a:p>
                    <a:r>
                      <a:t>1247.9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6</c:v>
                </c:pt>
              </c:strCache>
            </c:strRef>
          </c:cat>
          <c:val>
            <c:numRef>
              <c:f>Sheet1!$C$2:$C$2</c:f>
              <c:numCache>
                <c:formatCode>General</c:formatCode>
                <c:ptCount val="1"/>
                <c:pt idx="0">
                  <c:v>1247.9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6</c:v>
                </c:pt>
              </c:strCache>
            </c:strRef>
          </c:cat>
          <c:val>
            <c:numRef>
              <c:f>Sheet1!$D$2:$D$2</c:f>
              <c:numCache>
                <c:formatCode>General</c:formatCode>
                <c:ptCount val="1"/>
                <c:pt idx="0">
                  <c:v>2209.4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6</c:v>
                </c:pt>
              </c:strCache>
            </c:strRef>
          </c:cat>
          <c:val>
            <c:numRef>
              <c:f>Sheet1!$E$2:$E$2</c:f>
              <c:numCache>
                <c:formatCode>General</c:formatCode>
                <c:ptCount val="1"/>
                <c:pt idx="0">
                  <c:v>8413.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6</c:v>
                </c:pt>
              </c:strCache>
            </c:strRef>
          </c:cat>
          <c:val>
            <c:numRef>
              <c:f>Sheet1!$F$2:$F$2</c:f>
              <c:numCache>
                <c:formatCode>General</c:formatCode>
                <c:ptCount val="1"/>
                <c:pt idx="0">
                  <c:v>7853.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414.4114"/>
          <c:min val="1247.423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2479.5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2</a:t>
                    </a:r>
                  </a:p>
                  <a:p>
                    <a:r>
                      <a:t>1269.7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1269.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1767.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10861.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7764.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61.846"/>
          <c:min val="1269.261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B$2:$B$2</c:f>
              <c:numCache>
                <c:formatCode>General</c:formatCode>
                <c:ptCount val="1"/>
                <c:pt idx="0">
                  <c:v>2479.5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34</a:t>
                    </a:r>
                  </a:p>
                  <a:p>
                    <a:r>
                      <a:t>4126.1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C$2:$C$2</c:f>
              <c:numCache>
                <c:formatCode>General</c:formatCode>
                <c:ptCount val="1"/>
                <c:pt idx="0">
                  <c:v>4126.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D$2:$D$2</c:f>
              <c:numCache>
                <c:formatCode>General</c:formatCode>
                <c:ptCount val="1"/>
                <c:pt idx="0">
                  <c:v>1767.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E$2:$E$2</c:f>
              <c:numCache>
                <c:formatCode>General</c:formatCode>
                <c:ptCount val="1"/>
                <c:pt idx="0">
                  <c:v>10861.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34</c:v>
                </c:pt>
              </c:strCache>
            </c:strRef>
          </c:cat>
          <c:val>
            <c:numRef>
              <c:f>Sheet1!$F$2:$F$2</c:f>
              <c:numCache>
                <c:formatCode>General</c:formatCode>
                <c:ptCount val="1"/>
                <c:pt idx="0">
                  <c:v>7764.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61.846"/>
          <c:min val="1766.53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B$2:$B$2</c:f>
              <c:numCache>
                <c:formatCode>General</c:formatCode>
                <c:ptCount val="1"/>
                <c:pt idx="0">
                  <c:v>4291.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9</a:t>
                    </a:r>
                  </a:p>
                  <a:p>
                    <a:r>
                      <a:t>1281.8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C$2:$C$2</c:f>
              <c:numCache>
                <c:formatCode>General</c:formatCode>
                <c:ptCount val="1"/>
                <c:pt idx="0">
                  <c:v>1281.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D$2:$D$2</c:f>
              <c:numCache>
                <c:formatCode>General</c:formatCode>
                <c:ptCount val="1"/>
                <c:pt idx="0">
                  <c:v>6669.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E$2:$E$2</c:f>
              <c:numCache>
                <c:formatCode>General</c:formatCode>
                <c:ptCount val="1"/>
                <c:pt idx="0">
                  <c:v>111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9</c:v>
                </c:pt>
              </c:strCache>
            </c:strRef>
          </c:cat>
          <c:val>
            <c:numRef>
              <c:f>Sheet1!$F$2:$F$2</c:f>
              <c:numCache>
                <c:formatCode>General</c:formatCode>
                <c:ptCount val="1"/>
                <c:pt idx="0">
                  <c:v>8056.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199.0979"/>
          <c:min val="1281.37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4291.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1</a:t>
                    </a:r>
                  </a:p>
                  <a:p>
                    <a:r>
                      <a:t>1432.4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1432.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6669.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11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8056.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199.0979"/>
          <c:min val="1431.987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B$2:$B$2</c:f>
              <c:numCache>
                <c:formatCode>General</c:formatCode>
                <c:ptCount val="1"/>
                <c:pt idx="0">
                  <c:v>4291.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73</a:t>
                    </a:r>
                  </a:p>
                  <a:p>
                    <a:r>
                      <a:t>11522.4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C$2:$C$2</c:f>
              <c:numCache>
                <c:formatCode>General</c:formatCode>
                <c:ptCount val="1"/>
                <c:pt idx="0">
                  <c:v>11522.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D$2:$D$2</c:f>
              <c:numCache>
                <c:formatCode>General</c:formatCode>
                <c:ptCount val="1"/>
                <c:pt idx="0">
                  <c:v>6669.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E$2:$E$2</c:f>
              <c:numCache>
                <c:formatCode>General</c:formatCode>
                <c:ptCount val="1"/>
                <c:pt idx="0">
                  <c:v>111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73</c:v>
                </c:pt>
              </c:strCache>
            </c:strRef>
          </c:cat>
          <c:val>
            <c:numRef>
              <c:f>Sheet1!$F$2:$F$2</c:f>
              <c:numCache>
                <c:formatCode>General</c:formatCode>
                <c:ptCount val="1"/>
                <c:pt idx="0">
                  <c:v>8056.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522.9348"/>
          <c:min val="4291.237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B$2:$B$2</c:f>
              <c:numCache>
                <c:formatCode>General</c:formatCode>
                <c:ptCount val="1"/>
                <c:pt idx="0">
                  <c:v>133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1</a:t>
                    </a:r>
                  </a:p>
                  <a:p>
                    <a:r>
                      <a:t>1074.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C$2:$C$2</c:f>
              <c:numCache>
                <c:formatCode>General</c:formatCode>
                <c:ptCount val="1"/>
                <c:pt idx="0">
                  <c:v>1074.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D$2:$D$2</c:f>
              <c:numCache>
                <c:formatCode>General</c:formatCode>
                <c:ptCount val="1"/>
                <c:pt idx="0">
                  <c:v>174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E$2:$E$2</c:f>
              <c:numCache>
                <c:formatCode>General</c:formatCode>
                <c:ptCount val="1"/>
                <c:pt idx="0">
                  <c:v>4787.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1</c:v>
                </c:pt>
              </c:strCache>
            </c:strRef>
          </c:cat>
          <c:val>
            <c:numRef>
              <c:f>Sheet1!$F$2:$F$2</c:f>
              <c:numCache>
                <c:formatCode>General</c:formatCode>
                <c:ptCount val="1"/>
                <c:pt idx="0">
                  <c:v>646.3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87.5803"/>
          <c:min val="645.84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B$2:$B$2</c:f>
              <c:numCache>
                <c:formatCode>General</c:formatCode>
                <c:ptCount val="1"/>
                <c:pt idx="0">
                  <c:v>133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1179.2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C$2:$C$2</c:f>
              <c:numCache>
                <c:formatCode>General</c:formatCode>
                <c:ptCount val="1"/>
                <c:pt idx="0">
                  <c:v>1179.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D$2:$D$2</c:f>
              <c:numCache>
                <c:formatCode>General</c:formatCode>
                <c:ptCount val="1"/>
                <c:pt idx="0">
                  <c:v>174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E$2:$E$2</c:f>
              <c:numCache>
                <c:formatCode>General</c:formatCode>
                <c:ptCount val="1"/>
                <c:pt idx="0">
                  <c:v>4787.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7</c:v>
                </c:pt>
              </c:strCache>
            </c:strRef>
          </c:cat>
          <c:val>
            <c:numRef>
              <c:f>Sheet1!$F$2:$F$2</c:f>
              <c:numCache>
                <c:formatCode>General</c:formatCode>
                <c:ptCount val="1"/>
                <c:pt idx="0">
                  <c:v>646.3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87.5803"/>
          <c:min val="645.84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B$2:$B$2</c:f>
              <c:numCache>
                <c:formatCode>General</c:formatCode>
                <c:ptCount val="1"/>
                <c:pt idx="0">
                  <c:v>133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8</a:t>
                    </a:r>
                  </a:p>
                  <a:p>
                    <a:r>
                      <a:t>1715.6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C$2:$C$2</c:f>
              <c:numCache>
                <c:formatCode>General</c:formatCode>
                <c:ptCount val="1"/>
                <c:pt idx="0">
                  <c:v>1715.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D$2:$D$2</c:f>
              <c:numCache>
                <c:formatCode>General</c:formatCode>
                <c:ptCount val="1"/>
                <c:pt idx="0">
                  <c:v>1748.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E$2:$E$2</c:f>
              <c:numCache>
                <c:formatCode>General</c:formatCode>
                <c:ptCount val="1"/>
                <c:pt idx="0">
                  <c:v>4787.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8</c:v>
                </c:pt>
              </c:strCache>
            </c:strRef>
          </c:cat>
          <c:val>
            <c:numRef>
              <c:f>Sheet1!$F$2:$F$2</c:f>
              <c:numCache>
                <c:formatCode>General</c:formatCode>
                <c:ptCount val="1"/>
                <c:pt idx="0">
                  <c:v>646.3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87.5803"/>
          <c:min val="645.849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B$2:$B$2</c:f>
              <c:numCache>
                <c:formatCode>General</c:formatCode>
                <c:ptCount val="1"/>
                <c:pt idx="0">
                  <c:v>1619.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10.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C$2:$C$2</c:f>
              <c:numCache>
                <c:formatCode>General</c:formatCode>
                <c:ptCount val="1"/>
                <c:pt idx="0">
                  <c:v>1210.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D$2:$D$2</c:f>
              <c:numCache>
                <c:formatCode>General</c:formatCode>
                <c:ptCount val="1"/>
                <c:pt idx="0">
                  <c:v>1668.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E$2:$E$2</c:f>
              <c:numCache>
                <c:formatCode>General</c:formatCode>
                <c:ptCount val="1"/>
                <c:pt idx="0">
                  <c:v>9899.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F$2:$F$2</c:f>
              <c:numCache>
                <c:formatCode>General</c:formatCode>
                <c:ptCount val="1"/>
                <c:pt idx="0">
                  <c:v>6699.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99.5785"/>
          <c:min val="1210.333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B$2:$B$2</c:f>
              <c:numCache>
                <c:formatCode>General</c:formatCode>
                <c:ptCount val="1"/>
                <c:pt idx="0">
                  <c:v>1619.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3</a:t>
                    </a:r>
                  </a:p>
                  <a:p>
                    <a:r>
                      <a:t>1216.7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C$2:$C$2</c:f>
              <c:numCache>
                <c:formatCode>General</c:formatCode>
                <c:ptCount val="1"/>
                <c:pt idx="0">
                  <c:v>1216.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D$2:$D$2</c:f>
              <c:numCache>
                <c:formatCode>General</c:formatCode>
                <c:ptCount val="1"/>
                <c:pt idx="0">
                  <c:v>1668.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E$2:$E$2</c:f>
              <c:numCache>
                <c:formatCode>General</c:formatCode>
                <c:ptCount val="1"/>
                <c:pt idx="0">
                  <c:v>9899.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3</c:v>
                </c:pt>
              </c:strCache>
            </c:strRef>
          </c:cat>
          <c:val>
            <c:numRef>
              <c:f>Sheet1!$F$2:$F$2</c:f>
              <c:numCache>
                <c:formatCode>General</c:formatCode>
                <c:ptCount val="1"/>
                <c:pt idx="0">
                  <c:v>6699.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99.5785"/>
          <c:min val="1216.25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B$2:$B$2</c:f>
              <c:numCache>
                <c:formatCode>General</c:formatCode>
                <c:ptCount val="1"/>
                <c:pt idx="0">
                  <c:v>2479.5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1264.4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C$2:$C$2</c:f>
              <c:numCache>
                <c:formatCode>General</c:formatCode>
                <c:ptCount val="1"/>
                <c:pt idx="0">
                  <c:v>1264.4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D$2:$D$2</c:f>
              <c:numCache>
                <c:formatCode>General</c:formatCode>
                <c:ptCount val="1"/>
                <c:pt idx="0">
                  <c:v>2222.3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E$2:$E$2</c:f>
              <c:numCache>
                <c:formatCode>General</c:formatCode>
                <c:ptCount val="1"/>
                <c:pt idx="0">
                  <c:v>8569.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F$2:$F$2</c:f>
              <c:numCache>
                <c:formatCode>General</c:formatCode>
                <c:ptCount val="1"/>
                <c:pt idx="0">
                  <c:v>7765.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569.822"/>
          <c:min val="1263.96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B$2:$B$2</c:f>
              <c:numCache>
                <c:formatCode>General</c:formatCode>
                <c:ptCount val="1"/>
                <c:pt idx="0">
                  <c:v>1619.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41</a:t>
                    </a:r>
                  </a:p>
                  <a:p>
                    <a:r>
                      <a:t>4025.5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C$2:$C$2</c:f>
              <c:numCache>
                <c:formatCode>General</c:formatCode>
                <c:ptCount val="1"/>
                <c:pt idx="0">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D$2:$D$2</c:f>
              <c:numCache>
                <c:formatCode>General</c:formatCode>
                <c:ptCount val="1"/>
                <c:pt idx="0">
                  <c:v>1668.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E$2:$E$2</c:f>
              <c:numCache>
                <c:formatCode>General</c:formatCode>
                <c:ptCount val="1"/>
                <c:pt idx="0">
                  <c:v>9899.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1</c:v>
                </c:pt>
              </c:strCache>
            </c:strRef>
          </c:cat>
          <c:val>
            <c:numRef>
              <c:f>Sheet1!$F$2:$F$2</c:f>
              <c:numCache>
                <c:formatCode>General</c:formatCode>
                <c:ptCount val="1"/>
                <c:pt idx="0">
                  <c:v>6699.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99.5785"/>
          <c:min val="1618.91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B$2:$B$2</c:f>
              <c:numCache>
                <c:formatCode>General</c:formatCode>
                <c:ptCount val="1"/>
                <c:pt idx="0">
                  <c:v>2595.4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1371.6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C$2:$C$2</c:f>
              <c:numCache>
                <c:formatCode>General</c:formatCode>
                <c:ptCount val="1"/>
                <c:pt idx="0">
                  <c:v>1371.6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D$2:$D$2</c:f>
              <c:numCache>
                <c:formatCode>General</c:formatCode>
                <c:ptCount val="1"/>
                <c:pt idx="0">
                  <c:v>2405.1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E$2:$E$2</c:f>
              <c:numCache>
                <c:formatCode>General</c:formatCode>
                <c:ptCount val="1"/>
                <c:pt idx="0">
                  <c:v>8762.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7</c:v>
                </c:pt>
              </c:strCache>
            </c:strRef>
          </c:cat>
          <c:val>
            <c:numRef>
              <c:f>Sheet1!$F$2:$F$2</c:f>
              <c:numCache>
                <c:formatCode>General</c:formatCode>
                <c:ptCount val="1"/>
                <c:pt idx="0">
                  <c:v>8029.4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62.559"/>
          <c:min val="1371.13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B$2:$B$2</c:f>
              <c:numCache>
                <c:formatCode>General</c:formatCode>
                <c:ptCount val="1"/>
                <c:pt idx="0">
                  <c:v>2637.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8</a:t>
                    </a:r>
                  </a:p>
                  <a:p>
                    <a:r>
                      <a:t>1407.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C$2:$C$2</c:f>
              <c:numCache>
                <c:formatCode>General</c:formatCode>
                <c:ptCount val="1"/>
                <c:pt idx="0">
                  <c:v>1407.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D$2:$D$2</c:f>
              <c:numCache>
                <c:formatCode>General</c:formatCode>
                <c:ptCount val="1"/>
                <c:pt idx="0">
                  <c:v>2443.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E$2:$E$2</c:f>
              <c:numCache>
                <c:formatCode>General</c:formatCode>
                <c:ptCount val="1"/>
                <c:pt idx="0">
                  <c:v>8769.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58</c:v>
                </c:pt>
              </c:strCache>
            </c:strRef>
          </c:cat>
          <c:val>
            <c:numRef>
              <c:f>Sheet1!$F$2:$F$2</c:f>
              <c:numCache>
                <c:formatCode>General</c:formatCode>
                <c:ptCount val="1"/>
                <c:pt idx="0">
                  <c:v>7750.3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770.2309"/>
          <c:min val="1407.04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B$2:$B$2</c:f>
              <c:numCache>
                <c:formatCode>General</c:formatCode>
                <c:ptCount val="1"/>
                <c:pt idx="0">
                  <c:v>4347.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0</a:t>
                    </a:r>
                  </a:p>
                  <a:p>
                    <a:r>
                      <a:t>1485.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C$2:$C$2</c:f>
              <c:numCache>
                <c:formatCode>General</c:formatCode>
                <c:ptCount val="1"/>
                <c:pt idx="0">
                  <c:v>1485.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D$2:$D$2</c:f>
              <c:numCache>
                <c:formatCode>General</c:formatCode>
                <c:ptCount val="1"/>
                <c:pt idx="0">
                  <c:v>3700.2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E$2:$E$2</c:f>
              <c:numCache>
                <c:formatCode>General</c:formatCode>
                <c:ptCount val="1"/>
                <c:pt idx="0">
                  <c:v>9468.2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0</c:v>
                </c:pt>
              </c:strCache>
            </c:strRef>
          </c:cat>
          <c:val>
            <c:numRef>
              <c:f>Sheet1!$F$2:$F$2</c:f>
              <c:numCache>
                <c:formatCode>General</c:formatCode>
                <c:ptCount val="1"/>
                <c:pt idx="0">
                  <c:v>7934.4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468.7593"/>
          <c:min val="1485.05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1428.8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241.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1241.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1743.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5352.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Total Care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675.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52.5875"/>
          <c:min val="675.126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B$2:$B$2</c:f>
              <c:numCache>
                <c:formatCode>General</c:formatCode>
                <c:ptCount val="1"/>
                <c:pt idx="0">
                  <c:v>1828.6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9</a:t>
                    </a:r>
                  </a:p>
                  <a:p>
                    <a:r>
                      <a:t>1389.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C$2:$C$2</c:f>
              <c:numCache>
                <c:formatCode>General</c:formatCode>
                <c:ptCount val="1"/>
                <c:pt idx="0">
                  <c:v>1389.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D$2:$D$2</c:f>
              <c:numCache>
                <c:formatCode>General</c:formatCode>
                <c:ptCount val="1"/>
                <c:pt idx="0">
                  <c:v>2015.1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E$2:$E$2</c:f>
              <c:numCache>
                <c:formatCode>General</c:formatCode>
                <c:ptCount val="1"/>
                <c:pt idx="0">
                  <c:v>7634.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F$2:$F$2</c:f>
              <c:numCache>
                <c:formatCode>General</c:formatCode>
                <c:ptCount val="1"/>
                <c:pt idx="0">
                  <c:v>7386.8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635.0976"/>
          <c:min val="1388.8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B$2:$B$2</c:f>
              <c:numCache>
                <c:formatCode>General</c:formatCode>
                <c:ptCount val="1"/>
                <c:pt idx="0">
                  <c:v>2595.4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17.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C$2:$C$2</c:f>
              <c:numCache>
                <c:formatCode>General</c:formatCode>
                <c:ptCount val="1"/>
                <c:pt idx="0">
                  <c:v>1317.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D$2:$D$2</c:f>
              <c:numCache>
                <c:formatCode>General</c:formatCode>
                <c:ptCount val="1"/>
                <c:pt idx="0">
                  <c:v>1943.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E$2:$E$2</c:f>
              <c:numCache>
                <c:formatCode>General</c:formatCode>
                <c:ptCount val="1"/>
                <c:pt idx="0">
                  <c:v>10715.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F$2:$F$2</c:f>
              <c:numCache>
                <c:formatCode>General</c:formatCode>
                <c:ptCount val="1"/>
                <c:pt idx="0">
                  <c:v>8028.5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15.5746"/>
          <c:min val="1316.97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2595.4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388.8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1388.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1943.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10715.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8028.5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15.5746"/>
          <c:min val="1388.33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B$2:$B$2</c:f>
              <c:numCache>
                <c:formatCode>General</c:formatCode>
                <c:ptCount val="1"/>
                <c:pt idx="0">
                  <c:v>2595.4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2</a:t>
                    </a:r>
                  </a:p>
                  <a:p>
                    <a:r>
                      <a:t>4702.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C$2:$C$2</c:f>
              <c:numCache>
                <c:formatCode>General</c:formatCode>
                <c:ptCount val="1"/>
                <c:pt idx="0">
                  <c:v>4702.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D$2:$D$2</c:f>
              <c:numCache>
                <c:formatCode>General</c:formatCode>
                <c:ptCount val="1"/>
                <c:pt idx="0">
                  <c:v>1943.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E$2:$E$2</c:f>
              <c:numCache>
                <c:formatCode>General</c:formatCode>
                <c:ptCount val="1"/>
                <c:pt idx="0">
                  <c:v>10715.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2</c:v>
                </c:pt>
              </c:strCache>
            </c:strRef>
          </c:cat>
          <c:val>
            <c:numRef>
              <c:f>Sheet1!$F$2:$F$2</c:f>
              <c:numCache>
                <c:formatCode>General</c:formatCode>
                <c:ptCount val="1"/>
                <c:pt idx="0">
                  <c:v>8028.5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15.5746"/>
          <c:min val="1942.92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B$2:$B$2</c:f>
              <c:numCache>
                <c:formatCode>General</c:formatCode>
                <c:ptCount val="1"/>
                <c:pt idx="0">
                  <c:v>2637.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8</a:t>
                    </a:r>
                  </a:p>
                  <a:p>
                    <a:r>
                      <a:t>1345.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C$2:$C$2</c:f>
              <c:numCache>
                <c:formatCode>General</c:formatCode>
                <c:ptCount val="1"/>
                <c:pt idx="0">
                  <c:v>1345.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D$2:$D$2</c:f>
              <c:numCache>
                <c:formatCode>General</c:formatCode>
                <c:ptCount val="1"/>
                <c:pt idx="0">
                  <c:v>198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E$2:$E$2</c:f>
              <c:numCache>
                <c:formatCode>General</c:formatCode>
                <c:ptCount val="1"/>
                <c:pt idx="0">
                  <c:v>10849.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8</c:v>
                </c:pt>
              </c:strCache>
            </c:strRef>
          </c:cat>
          <c:val>
            <c:numRef>
              <c:f>Sheet1!$F$2:$F$2</c:f>
              <c:numCache>
                <c:formatCode>General</c:formatCode>
                <c:ptCount val="1"/>
                <c:pt idx="0">
                  <c:v>7748.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49.5739"/>
          <c:min val="1344.66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B$2:$B$2</c:f>
              <c:numCache>
                <c:formatCode>General</c:formatCode>
                <c:ptCount val="1"/>
                <c:pt idx="0">
                  <c:v>4291.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8</a:t>
                    </a:r>
                  </a:p>
                  <a:p>
                    <a:r>
                      <a:t>1353.3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C$2:$C$2</c:f>
              <c:numCache>
                <c:formatCode>General</c:formatCode>
                <c:ptCount val="1"/>
                <c:pt idx="0">
                  <c:v>1353.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D$2:$D$2</c:f>
              <c:numCache>
                <c:formatCode>General</c:formatCode>
                <c:ptCount val="1"/>
                <c:pt idx="0">
                  <c:v>3583.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E$2:$E$2</c:f>
              <c:numCache>
                <c:formatCode>General</c:formatCode>
                <c:ptCount val="1"/>
                <c:pt idx="0">
                  <c:v>9562.3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8</c:v>
                </c:pt>
              </c:strCache>
            </c:strRef>
          </c:cat>
          <c:val>
            <c:numRef>
              <c:f>Sheet1!$F$2:$F$2</c:f>
              <c:numCache>
                <c:formatCode>General</c:formatCode>
                <c:ptCount val="1"/>
                <c:pt idx="0">
                  <c:v>8056.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562.8727"/>
          <c:min val="1352.87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2637.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429.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1429.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198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10849.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7748.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49.5739"/>
          <c:min val="1429.26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B$2:$B$2</c:f>
              <c:numCache>
                <c:formatCode>General</c:formatCode>
                <c:ptCount val="1"/>
                <c:pt idx="0">
                  <c:v>2637.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5</a:t>
                    </a:r>
                  </a:p>
                  <a:p>
                    <a:r>
                      <a:t>5054.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C$2:$C$2</c:f>
              <c:numCache>
                <c:formatCode>General</c:formatCode>
                <c:ptCount val="1"/>
                <c:pt idx="0">
                  <c:v>505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D$2:$D$2</c:f>
              <c:numCache>
                <c:formatCode>General</c:formatCode>
                <c:ptCount val="1"/>
                <c:pt idx="0">
                  <c:v>198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E$2:$E$2</c:f>
              <c:numCache>
                <c:formatCode>General</c:formatCode>
                <c:ptCount val="1"/>
                <c:pt idx="0">
                  <c:v>10849.0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5</c:v>
                </c:pt>
              </c:strCache>
            </c:strRef>
          </c:cat>
          <c:val>
            <c:numRef>
              <c:f>Sheet1!$F$2:$F$2</c:f>
              <c:numCache>
                <c:formatCode>General</c:formatCode>
                <c:ptCount val="1"/>
                <c:pt idx="0">
                  <c:v>7748.3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49.5739"/>
          <c:min val="1980.91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B$2:$B$2</c:f>
              <c:numCache>
                <c:formatCode>General</c:formatCode>
                <c:ptCount val="1"/>
                <c:pt idx="0">
                  <c:v>4347.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1</a:t>
                    </a:r>
                  </a:p>
                  <a:p>
                    <a:r>
                      <a:t>1381.8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C$2:$C$2</c:f>
              <c:numCache>
                <c:formatCode>General</c:formatCode>
                <c:ptCount val="1"/>
                <c:pt idx="0">
                  <c:v>1381.8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D$2:$D$2</c:f>
              <c:numCache>
                <c:formatCode>General</c:formatCode>
                <c:ptCount val="1"/>
                <c:pt idx="0">
                  <c:v>6672.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E$2:$E$2</c:f>
              <c:numCache>
                <c:formatCode>General</c:formatCode>
                <c:ptCount val="1"/>
                <c:pt idx="0">
                  <c:v>1103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1</c:v>
                </c:pt>
              </c:strCache>
            </c:strRef>
          </c:cat>
          <c:val>
            <c:numRef>
              <c:f>Sheet1!$F$2:$F$2</c:f>
              <c:numCache>
                <c:formatCode>General</c:formatCode>
                <c:ptCount val="1"/>
                <c:pt idx="0">
                  <c:v>793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31.4003"/>
          <c:min val="1381.32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B$2:$B$2</c:f>
              <c:numCache>
                <c:formatCode>General</c:formatCode>
                <c:ptCount val="1"/>
                <c:pt idx="0">
                  <c:v>4347.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4</a:t>
                    </a:r>
                  </a:p>
                  <a:p>
                    <a:r>
                      <a:t>159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C$2:$C$2</c:f>
              <c:numCache>
                <c:formatCode>General</c:formatCode>
                <c:ptCount val="1"/>
                <c:pt idx="0">
                  <c:v>159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D$2:$D$2</c:f>
              <c:numCache>
                <c:formatCode>General</c:formatCode>
                <c:ptCount val="1"/>
                <c:pt idx="0">
                  <c:v>6672.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E$2:$E$2</c:f>
              <c:numCache>
                <c:formatCode>General</c:formatCode>
                <c:ptCount val="1"/>
                <c:pt idx="0">
                  <c:v>1103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4</c:v>
                </c:pt>
              </c:strCache>
            </c:strRef>
          </c:cat>
          <c:val>
            <c:numRef>
              <c:f>Sheet1!$F$2:$F$2</c:f>
              <c:numCache>
                <c:formatCode>General</c:formatCode>
                <c:ptCount val="1"/>
                <c:pt idx="0">
                  <c:v>793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1031.4003"/>
          <c:min val="1599.29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B$2:$B$2</c:f>
              <c:numCache>
                <c:formatCode>General</c:formatCode>
                <c:ptCount val="1"/>
                <c:pt idx="0">
                  <c:v>4347.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1</a:t>
                    </a:r>
                  </a:p>
                  <a:p>
                    <a:r>
                      <a:t>22101.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C$2:$C$2</c:f>
              <c:numCache>
                <c:formatCode>General</c:formatCode>
                <c:ptCount val="1"/>
                <c:pt idx="0">
                  <c:v>22101.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D$2:$D$2</c:f>
              <c:numCache>
                <c:formatCode>General</c:formatCode>
                <c:ptCount val="1"/>
                <c:pt idx="0">
                  <c:v>6672.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E$2:$E$2</c:f>
              <c:numCache>
                <c:formatCode>General</c:formatCode>
                <c:ptCount val="1"/>
                <c:pt idx="0">
                  <c:v>1103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331</c:v>
                </c:pt>
              </c:strCache>
            </c:strRef>
          </c:cat>
          <c:val>
            <c:numRef>
              <c:f>Sheet1!$F$2:$F$2</c:f>
              <c:numCache>
                <c:formatCode>General</c:formatCode>
                <c:ptCount val="1"/>
                <c:pt idx="0">
                  <c:v>7933.8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101.7813"/>
          <c:min val="4346.84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1428.8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1</a:t>
                    </a:r>
                  </a:p>
                  <a:p>
                    <a:r>
                      <a:t>1230.6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1230.6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1735.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5352.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764.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52.5875"/>
          <c:min val="764.23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1428.8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249.4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1249.4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1735.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5352.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764.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52.5875"/>
          <c:min val="764.23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B$2:$B$2</c:f>
              <c:numCache>
                <c:formatCode>General</c:formatCode>
                <c:ptCount val="1"/>
                <c:pt idx="0">
                  <c:v>1428.8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9</a:t>
                    </a:r>
                  </a:p>
                  <a:p>
                    <a:r>
                      <a:t>1712.6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C$2:$C$2</c:f>
              <c:numCache>
                <c:formatCode>General</c:formatCode>
                <c:ptCount val="1"/>
                <c:pt idx="0">
                  <c:v>1712.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D$2:$D$2</c:f>
              <c:numCache>
                <c:formatCode>General</c:formatCode>
                <c:ptCount val="1"/>
                <c:pt idx="0">
                  <c:v>1735.8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E$2:$E$2</c:f>
              <c:numCache>
                <c:formatCode>General</c:formatCode>
                <c:ptCount val="1"/>
                <c:pt idx="0">
                  <c:v>5352.0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aribbean Beach</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9</c:v>
                </c:pt>
              </c:strCache>
            </c:strRef>
          </c:cat>
          <c:val>
            <c:numRef>
              <c:f>Sheet1!$F$2:$F$2</c:f>
              <c:numCache>
                <c:formatCode>General</c:formatCode>
                <c:ptCount val="1"/>
                <c:pt idx="0">
                  <c:v>764.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52.5875"/>
          <c:min val="764.23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B$2:$B$2</c:f>
              <c:numCache>
                <c:formatCode>General</c:formatCode>
                <c:ptCount val="1"/>
                <c:pt idx="0">
                  <c:v>1828.6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0</a:t>
                    </a:r>
                  </a:p>
                  <a:p>
                    <a:r>
                      <a:t>1340.5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C$2:$C$2</c:f>
              <c:numCache>
                <c:formatCode>General</c:formatCode>
                <c:ptCount val="1"/>
                <c:pt idx="0">
                  <c:v>1340.5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D$2:$D$2</c:f>
              <c:numCache>
                <c:formatCode>General</c:formatCode>
                <c:ptCount val="1"/>
                <c:pt idx="0">
                  <c:v>1905.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E$2:$E$2</c:f>
              <c:numCache>
                <c:formatCode>General</c:formatCode>
                <c:ptCount val="1"/>
                <c:pt idx="0">
                  <c:v>10734.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F$2:$F$2</c:f>
              <c:numCache>
                <c:formatCode>General</c:formatCode>
                <c:ptCount val="1"/>
                <c:pt idx="0">
                  <c:v>7379.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35.3948"/>
          <c:min val="1340.06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B$2:$B$2</c:f>
              <c:numCache>
                <c:formatCode>General</c:formatCode>
                <c:ptCount val="1"/>
                <c:pt idx="0">
                  <c:v>1828.6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2</a:t>
                    </a:r>
                  </a:p>
                  <a:p>
                    <a:r>
                      <a:t>1379.5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C$2:$C$2</c:f>
              <c:numCache>
                <c:formatCode>General</c:formatCode>
                <c:ptCount val="1"/>
                <c:pt idx="0">
                  <c:v>1379.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D$2:$D$2</c:f>
              <c:numCache>
                <c:formatCode>General</c:formatCode>
                <c:ptCount val="1"/>
                <c:pt idx="0">
                  <c:v>1905.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E$2:$E$2</c:f>
              <c:numCache>
                <c:formatCode>General</c:formatCode>
                <c:ptCount val="1"/>
                <c:pt idx="0">
                  <c:v>10734.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2</c:v>
                </c:pt>
              </c:strCache>
            </c:strRef>
          </c:cat>
          <c:val>
            <c:numRef>
              <c:f>Sheet1!$F$2:$F$2</c:f>
              <c:numCache>
                <c:formatCode>General</c:formatCode>
                <c:ptCount val="1"/>
                <c:pt idx="0">
                  <c:v>7379.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35.3948"/>
          <c:min val="1379.017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B$2:$B$2</c:f>
              <c:numCache>
                <c:formatCode>General</c:formatCode>
                <c:ptCount val="1"/>
                <c:pt idx="0">
                  <c:v>133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5</a:t>
                    </a:r>
                  </a:p>
                  <a:p>
                    <a:r>
                      <a:t>1144.4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C$2:$C$2</c:f>
              <c:numCache>
                <c:formatCode>General</c:formatCode>
                <c:ptCount val="1"/>
                <c:pt idx="0">
                  <c:v>1144.4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D$2:$D$2</c:f>
              <c:numCache>
                <c:formatCode>General</c:formatCode>
                <c:ptCount val="1"/>
                <c:pt idx="0">
                  <c:v>1751.0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E$2:$E$2</c:f>
              <c:numCache>
                <c:formatCode>General</c:formatCode>
                <c:ptCount val="1"/>
                <c:pt idx="0">
                  <c:v>4787.0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Total Care De Mexic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5</c:v>
                </c:pt>
              </c:strCache>
            </c:strRef>
          </c:cat>
          <c:val>
            <c:numRef>
              <c:f>Sheet1!$F$2:$F$2</c:f>
              <c:numCache>
                <c:formatCode>General</c:formatCode>
                <c:ptCount val="1"/>
                <c:pt idx="0">
                  <c:v>577.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787.5803"/>
          <c:min val="577.15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B$2:$B$2</c:f>
              <c:numCache>
                <c:formatCode>General</c:formatCode>
                <c:ptCount val="1"/>
                <c:pt idx="0">
                  <c:v>1828.6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257</a:t>
                    </a:r>
                  </a:p>
                  <a:p>
                    <a:r>
                      <a:t>4900.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C$2:$C$2</c:f>
              <c:numCache>
                <c:formatCode>General</c:formatCode>
                <c:ptCount val="1"/>
                <c:pt idx="0">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D$2:$D$2</c:f>
              <c:numCache>
                <c:formatCode>General</c:formatCode>
                <c:ptCount val="1"/>
                <c:pt idx="0">
                  <c:v>1905.4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E$2:$E$2</c:f>
              <c:numCache>
                <c:formatCode>General</c:formatCode>
                <c:ptCount val="1"/>
                <c:pt idx="0">
                  <c:v>10734.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57</c:v>
                </c:pt>
              </c:strCache>
            </c:strRef>
          </c:cat>
          <c:val>
            <c:numRef>
              <c:f>Sheet1!$F$2:$F$2</c:f>
              <c:numCache>
                <c:formatCode>General</c:formatCode>
                <c:ptCount val="1"/>
                <c:pt idx="0">
                  <c:v>7379.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735.3948"/>
          <c:min val="1828.12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7</c:v>
                </c:pt>
                <c:pt idx="1">
                  <c:v>IX 100</c:v>
                </c:pt>
                <c:pt idx="2">
                  <c:v/>
                </c:pt>
                <c:pt idx="3">
                  <c:v>IX 45</c:v>
                </c:pt>
                <c:pt idx="4">
                  <c:v>IX 100</c:v>
                </c:pt>
                <c:pt idx="5">
                  <c:v>IX 67</c:v>
                </c:pt>
                <c:pt idx="6">
                  <c:v/>
                </c:pt>
                <c:pt idx="7">
                  <c:v/>
                </c:pt>
                <c:pt idx="8">
                  <c:v>IX 12</c:v>
                </c:pt>
                <c:pt idx="9">
                  <c:v/>
                </c:pt>
                <c:pt idx="10">
                  <c:v>IX 100</c:v>
                </c:pt>
                <c:pt idx="11">
                  <c:v>IX 100</c:v>
                </c:pt>
                <c:pt idx="12">
                  <c:v/>
                </c:pt>
                <c:pt idx="13">
                  <c:v/>
                </c:pt>
              </c:strCache>
            </c:strRef>
          </c:cat>
          <c:val>
            <c:numRef>
              <c:f>Sheet1!$B$2:$B$15</c:f>
              <c:numCache>
                <c:formatCode>General</c:formatCode>
                <c:ptCount val="14"/>
                <c:pt idx="0">
                  <c:v>2480.85</c:v>
                </c:pt>
                <c:pt idx="1">
                  <c:v>1533.61</c:v>
                </c:pt>
                <c:pt idx="2">
                  <c:v>3000.15</c:v>
                </c:pt>
                <c:pt idx="3">
                  <c:v>12486.01</c:v>
                </c:pt>
                <c:pt idx="4">
                  <c:v>1589.2</c:v>
                </c:pt>
                <c:pt idx="5">
                  <c:v>3616.83</c:v>
                </c:pt>
                <c:pt idx="6">
                  <c:v>29942.36</c:v>
                </c:pt>
                <c:pt idx="7">
                  <c:v>9679.45</c:v>
                </c:pt>
                <c:pt idx="8">
                  <c:v>2070.22</c:v>
                </c:pt>
                <c:pt idx="9">
                  <c:v>5721.79</c:v>
                </c:pt>
                <c:pt idx="10">
                  <c:v>2761.16</c:v>
                </c:pt>
                <c:pt idx="11">
                  <c:v>7742.87</c:v>
                </c:pt>
                <c:pt idx="12">
                  <c:v>15748.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7</a:t>
                    </a:r>
                  </a:p>
                  <a:p>
                    <a:r>
                      <a:t>1123.82</a:t>
                    </a:r>
                  </a:p>
                </c:rich>
              </c:tx>
              <c:dLblPos val="l"/>
              <c:showLegendKey val="0"/>
              <c:showVal val="1"/>
              <c:showCatName val="0"/>
              <c:showSerName val="0"/>
              <c:showPercent val="0"/>
              <c:showBubbleSize val="0"/>
            </c:dLbl>
            <c:dLbl>
              <c:idx val="1"/>
              <c:tx>
                <c:rich>
                  <a:bodyPr/>
                  <a:lstStyle/>
                  <a:p>
                    <a:r>
                      <a:t>IX 100</a:t>
                    </a:r>
                  </a:p>
                  <a:p>
                    <a:r>
                      <a:t>1282.7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5</a:t>
                    </a:r>
                  </a:p>
                  <a:p>
                    <a:r>
                      <a:t>5581.58</a:t>
                    </a:r>
                  </a:p>
                </c:rich>
              </c:tx>
              <c:dLblPos val="l"/>
              <c:showLegendKey val="0"/>
              <c:showVal val="1"/>
              <c:showCatName val="0"/>
              <c:showSerName val="0"/>
              <c:showPercent val="0"/>
              <c:showBubbleSize val="0"/>
            </c:dLbl>
            <c:dLbl>
              <c:idx val="4"/>
              <c:tx>
                <c:rich>
                  <a:bodyPr/>
                  <a:lstStyle/>
                  <a:p>
                    <a:r>
                      <a:t>IX 100</a:t>
                    </a:r>
                  </a:p>
                  <a:p>
                    <a:r>
                      <a:t>1443.24</a:t>
                    </a:r>
                  </a:p>
                </c:rich>
              </c:tx>
              <c:dLblPos val="l"/>
              <c:showLegendKey val="0"/>
              <c:showVal val="1"/>
              <c:showCatName val="0"/>
              <c:showSerName val="0"/>
              <c:showPercent val="0"/>
              <c:showBubbleSize val="0"/>
            </c:dLbl>
            <c:dLbl>
              <c:idx val="5"/>
              <c:tx>
                <c:rich>
                  <a:bodyPr/>
                  <a:lstStyle/>
                  <a:p>
                    <a:r>
                      <a:t>IX 67</a:t>
                    </a:r>
                  </a:p>
                  <a:p>
                    <a:r>
                      <a:t>4352.0</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2</a:t>
                    </a:r>
                  </a:p>
                  <a:p>
                    <a:r>
                      <a:t>601.47</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2761.16</a:t>
                    </a:r>
                  </a:p>
                </c:rich>
              </c:tx>
              <c:dLblPos val="l"/>
              <c:showLegendKey val="0"/>
              <c:showVal val="1"/>
              <c:showCatName val="0"/>
              <c:showSerName val="0"/>
              <c:showPercent val="0"/>
              <c:showBubbleSize val="0"/>
            </c:dLbl>
            <c:dLbl>
              <c:idx val="11"/>
              <c:tx>
                <c:rich>
                  <a:bodyPr/>
                  <a:lstStyle/>
                  <a:p>
                    <a:r>
                      <a:t>IX 100</a:t>
                    </a:r>
                  </a:p>
                  <a:p>
                    <a:r>
                      <a:t>1420.8</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7</c:v>
                </c:pt>
                <c:pt idx="1">
                  <c:v>IX 100</c:v>
                </c:pt>
                <c:pt idx="2">
                  <c:v/>
                </c:pt>
                <c:pt idx="3">
                  <c:v>IX 45</c:v>
                </c:pt>
                <c:pt idx="4">
                  <c:v>IX 100</c:v>
                </c:pt>
                <c:pt idx="5">
                  <c:v>IX 67</c:v>
                </c:pt>
                <c:pt idx="6">
                  <c:v/>
                </c:pt>
                <c:pt idx="7">
                  <c:v/>
                </c:pt>
                <c:pt idx="8">
                  <c:v>IX 12</c:v>
                </c:pt>
                <c:pt idx="9">
                  <c:v/>
                </c:pt>
                <c:pt idx="10">
                  <c:v>IX 100</c:v>
                </c:pt>
                <c:pt idx="11">
                  <c:v>IX 100</c:v>
                </c:pt>
                <c:pt idx="12">
                  <c:v/>
                </c:pt>
                <c:pt idx="13">
                  <c:v/>
                </c:pt>
              </c:strCache>
            </c:strRef>
          </c:cat>
          <c:val>
            <c:numRef>
              <c:f>Sheet1!$C$2:$C$15</c:f>
              <c:numCache>
                <c:formatCode>General</c:formatCode>
                <c:ptCount val="14"/>
                <c:pt idx="0">
                  <c:v>1123.82</c:v>
                </c:pt>
                <c:pt idx="1">
                  <c:v>1282.72</c:v>
                </c:pt>
                <c:pt idx="3">
                  <c:v>5581.58</c:v>
                </c:pt>
                <c:pt idx="4">
                  <c:v>1443.24</c:v>
                </c:pt>
                <c:pt idx="5">
                  <c:v>4352.0</c:v>
                </c:pt>
                <c:pt idx="8">
                  <c:v>601.47</c:v>
                </c:pt>
                <c:pt idx="10">
                  <c:v>2761.16</c:v>
                </c:pt>
                <c:pt idx="11">
                  <c:v>142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7</c:v>
                </c:pt>
                <c:pt idx="1">
                  <c:v>IX 100</c:v>
                </c:pt>
                <c:pt idx="2">
                  <c:v/>
                </c:pt>
                <c:pt idx="3">
                  <c:v>IX 45</c:v>
                </c:pt>
                <c:pt idx="4">
                  <c:v>IX 100</c:v>
                </c:pt>
                <c:pt idx="5">
                  <c:v>IX 67</c:v>
                </c:pt>
                <c:pt idx="6">
                  <c:v/>
                </c:pt>
                <c:pt idx="7">
                  <c:v/>
                </c:pt>
                <c:pt idx="8">
                  <c:v>IX 12</c:v>
                </c:pt>
                <c:pt idx="9">
                  <c:v/>
                </c:pt>
                <c:pt idx="10">
                  <c:v>IX 100</c:v>
                </c:pt>
                <c:pt idx="11">
                  <c:v>IX 100</c:v>
                </c:pt>
                <c:pt idx="12">
                  <c:v/>
                </c:pt>
                <c:pt idx="13">
                  <c:v/>
                </c:pt>
              </c:strCache>
            </c:strRef>
          </c:cat>
          <c:val>
            <c:numRef>
              <c:f>Sheet1!$D$2:$D$15</c:f>
              <c:numCache>
                <c:formatCode>General</c:formatCode>
                <c:ptCount val="14"/>
                <c:pt idx="0">
                  <c:v>3063.92</c:v>
                </c:pt>
                <c:pt idx="1">
                  <c:v>1418.33</c:v>
                </c:pt>
                <c:pt idx="2">
                  <c:v>2342.19</c:v>
                </c:pt>
                <c:pt idx="3">
                  <c:v>8802.66</c:v>
                </c:pt>
                <c:pt idx="4">
                  <c:v>668.57</c:v>
                </c:pt>
                <c:pt idx="7">
                  <c:v>8723.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7</c:v>
                </c:pt>
                <c:pt idx="1">
                  <c:v>IX 100</c:v>
                </c:pt>
                <c:pt idx="2">
                  <c:v/>
                </c:pt>
                <c:pt idx="3">
                  <c:v>IX 45</c:v>
                </c:pt>
                <c:pt idx="4">
                  <c:v>IX 100</c:v>
                </c:pt>
                <c:pt idx="5">
                  <c:v>IX 67</c:v>
                </c:pt>
                <c:pt idx="6">
                  <c:v/>
                </c:pt>
                <c:pt idx="7">
                  <c:v/>
                </c:pt>
                <c:pt idx="8">
                  <c:v>IX 12</c:v>
                </c:pt>
                <c:pt idx="9">
                  <c:v/>
                </c:pt>
                <c:pt idx="10">
                  <c:v>IX 100</c:v>
                </c:pt>
                <c:pt idx="11">
                  <c:v>IX 100</c:v>
                </c:pt>
                <c:pt idx="12">
                  <c:v/>
                </c:pt>
                <c:pt idx="13">
                  <c:v/>
                </c:pt>
              </c:strCache>
            </c:strRef>
          </c:cat>
          <c:val>
            <c:numRef>
              <c:f>Sheet1!$E$2:$E$15</c:f>
              <c:numCache>
                <c:formatCode>General</c:formatCode>
                <c:ptCount val="14"/>
                <c:pt idx="0">
                  <c:v>12358.24</c:v>
                </c:pt>
                <c:pt idx="1">
                  <c:v>7350.95</c:v>
                </c:pt>
                <c:pt idx="2">
                  <c:v>2556.52</c:v>
                </c:pt>
                <c:pt idx="3">
                  <c:v>12979.89</c:v>
                </c:pt>
                <c:pt idx="4">
                  <c:v>2673.18</c:v>
                </c:pt>
                <c:pt idx="5">
                  <c:v>3161.84</c:v>
                </c:pt>
                <c:pt idx="6">
                  <c:v>48001.1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7</c:v>
                </c:pt>
                <c:pt idx="1">
                  <c:v>IX 100</c:v>
                </c:pt>
                <c:pt idx="2">
                  <c:v/>
                </c:pt>
                <c:pt idx="3">
                  <c:v>IX 45</c:v>
                </c:pt>
                <c:pt idx="4">
                  <c:v>IX 100</c:v>
                </c:pt>
                <c:pt idx="5">
                  <c:v>IX 67</c:v>
                </c:pt>
                <c:pt idx="6">
                  <c:v/>
                </c:pt>
                <c:pt idx="7">
                  <c:v/>
                </c:pt>
                <c:pt idx="8">
                  <c:v>IX 12</c:v>
                </c:pt>
                <c:pt idx="9">
                  <c:v/>
                </c:pt>
                <c:pt idx="10">
                  <c:v>IX 100</c:v>
                </c:pt>
                <c:pt idx="11">
                  <c:v>IX 100</c:v>
                </c:pt>
                <c:pt idx="12">
                  <c:v/>
                </c:pt>
                <c:pt idx="13">
                  <c:v/>
                </c:pt>
              </c:strCache>
            </c:strRef>
          </c:cat>
          <c:val>
            <c:numRef>
              <c:f>Sheet1!$F$2:$F$15</c:f>
              <c:numCache>
                <c:formatCode>General</c:formatCode>
                <c:ptCount val="14"/>
                <c:pt idx="0">
                  <c:v>7494.85</c:v>
                </c:pt>
                <c:pt idx="1">
                  <c:v>6035.91</c:v>
                </c:pt>
                <c:pt idx="2">
                  <c:v>11483.89</c:v>
                </c:pt>
                <c:pt idx="3">
                  <c:v>12302.61</c:v>
                </c:pt>
                <c:pt idx="4">
                  <c:v>4265.09</c:v>
                </c:pt>
                <c:pt idx="5">
                  <c:v>6507.37</c:v>
                </c:pt>
                <c:pt idx="8">
                  <c:v>4860.49</c:v>
                </c:pt>
                <c:pt idx="9">
                  <c:v>5374.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001.629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8</c:v>
                </c:pt>
                <c:pt idx="1">
                  <c:v>IX 100</c:v>
                </c:pt>
                <c:pt idx="2">
                  <c:v/>
                </c:pt>
                <c:pt idx="3">
                  <c:v>IX 47</c:v>
                </c:pt>
                <c:pt idx="4">
                  <c:v>IX 100</c:v>
                </c:pt>
                <c:pt idx="5">
                  <c:v>IX 64</c:v>
                </c:pt>
                <c:pt idx="6">
                  <c:v/>
                </c:pt>
                <c:pt idx="7">
                  <c:v/>
                </c:pt>
                <c:pt idx="8">
                  <c:v>IX 11</c:v>
                </c:pt>
                <c:pt idx="9">
                  <c:v/>
                </c:pt>
                <c:pt idx="10">
                  <c:v>IX 100</c:v>
                </c:pt>
                <c:pt idx="11">
                  <c:v/>
                </c:pt>
                <c:pt idx="12">
                  <c:v/>
                </c:pt>
              </c:strCache>
            </c:strRef>
          </c:cat>
          <c:val>
            <c:numRef>
              <c:f>Sheet1!$B$2:$B$14</c:f>
              <c:numCache>
                <c:formatCode>General</c:formatCode>
                <c:ptCount val="13"/>
                <c:pt idx="0">
                  <c:v>2560.0</c:v>
                </c:pt>
                <c:pt idx="1">
                  <c:v>1552.54</c:v>
                </c:pt>
                <c:pt idx="2">
                  <c:v>2980.44</c:v>
                </c:pt>
                <c:pt idx="3">
                  <c:v>12934.49</c:v>
                </c:pt>
                <c:pt idx="4">
                  <c:v>1626.78</c:v>
                </c:pt>
                <c:pt idx="5">
                  <c:v>3753.96</c:v>
                </c:pt>
                <c:pt idx="6">
                  <c:v>34951.07</c:v>
                </c:pt>
                <c:pt idx="7">
                  <c:v>10208.26</c:v>
                </c:pt>
                <c:pt idx="8">
                  <c:v>2203.9</c:v>
                </c:pt>
                <c:pt idx="9">
                  <c:v>5866.35</c:v>
                </c:pt>
                <c:pt idx="10">
                  <c:v>2993.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8</a:t>
                    </a:r>
                  </a:p>
                  <a:p>
                    <a:r>
                      <a:t>1138.95</a:t>
                    </a:r>
                  </a:p>
                </c:rich>
              </c:tx>
              <c:dLblPos val="l"/>
              <c:showLegendKey val="0"/>
              <c:showVal val="1"/>
              <c:showCatName val="0"/>
              <c:showSerName val="0"/>
              <c:showPercent val="0"/>
              <c:showBubbleSize val="0"/>
            </c:dLbl>
            <c:dLbl>
              <c:idx val="1"/>
              <c:tx>
                <c:rich>
                  <a:bodyPr/>
                  <a:lstStyle/>
                  <a:p>
                    <a:r>
                      <a:t>IX 100</a:t>
                    </a:r>
                  </a:p>
                  <a:p>
                    <a:r>
                      <a:t>1299.3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7</a:t>
                    </a:r>
                  </a:p>
                  <a:p>
                    <a:r>
                      <a:t>5904.05</a:t>
                    </a:r>
                  </a:p>
                </c:rich>
              </c:tx>
              <c:dLblPos val="l"/>
              <c:showLegendKey val="0"/>
              <c:showVal val="1"/>
              <c:showCatName val="0"/>
              <c:showSerName val="0"/>
              <c:showPercent val="0"/>
              <c:showBubbleSize val="0"/>
            </c:dLbl>
            <c:dLbl>
              <c:idx val="4"/>
              <c:tx>
                <c:rich>
                  <a:bodyPr/>
                  <a:lstStyle/>
                  <a:p>
                    <a:r>
                      <a:t>IX 100</a:t>
                    </a:r>
                  </a:p>
                  <a:p>
                    <a:r>
                      <a:t>1459.64</a:t>
                    </a:r>
                  </a:p>
                </c:rich>
              </c:tx>
              <c:dLblPos val="l"/>
              <c:showLegendKey val="0"/>
              <c:showVal val="1"/>
              <c:showCatName val="0"/>
              <c:showSerName val="0"/>
              <c:showPercent val="0"/>
              <c:showBubbleSize val="0"/>
            </c:dLbl>
            <c:dLbl>
              <c:idx val="5"/>
              <c:tx>
                <c:rich>
                  <a:bodyPr/>
                  <a:lstStyle/>
                  <a:p>
                    <a:r>
                      <a:t>IX 64</a:t>
                    </a:r>
                  </a:p>
                  <a:p>
                    <a:r>
                      <a:t>4352.0</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1</a:t>
                    </a:r>
                  </a:p>
                  <a:p>
                    <a:r>
                      <a:t>604.24</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2993.2</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8</c:v>
                </c:pt>
                <c:pt idx="1">
                  <c:v>IX 100</c:v>
                </c:pt>
                <c:pt idx="2">
                  <c:v/>
                </c:pt>
                <c:pt idx="3">
                  <c:v>IX 47</c:v>
                </c:pt>
                <c:pt idx="4">
                  <c:v>IX 100</c:v>
                </c:pt>
                <c:pt idx="5">
                  <c:v>IX 64</c:v>
                </c:pt>
                <c:pt idx="6">
                  <c:v/>
                </c:pt>
                <c:pt idx="7">
                  <c:v/>
                </c:pt>
                <c:pt idx="8">
                  <c:v>IX 11</c:v>
                </c:pt>
                <c:pt idx="9">
                  <c:v/>
                </c:pt>
                <c:pt idx="10">
                  <c:v>IX 100</c:v>
                </c:pt>
                <c:pt idx="11">
                  <c:v/>
                </c:pt>
                <c:pt idx="12">
                  <c:v/>
                </c:pt>
              </c:strCache>
            </c:strRef>
          </c:cat>
          <c:val>
            <c:numRef>
              <c:f>Sheet1!$C$2:$C$14</c:f>
              <c:numCache>
                <c:formatCode>General</c:formatCode>
                <c:ptCount val="13"/>
                <c:pt idx="0">
                  <c:v>1138.95</c:v>
                </c:pt>
                <c:pt idx="1">
                  <c:v>1299.39</c:v>
                </c:pt>
                <c:pt idx="3">
                  <c:v>5904.05</c:v>
                </c:pt>
                <c:pt idx="4">
                  <c:v>1459.64</c:v>
                </c:pt>
                <c:pt idx="5">
                  <c:v>4352.0</c:v>
                </c:pt>
                <c:pt idx="8">
                  <c:v>604.24</c:v>
                </c:pt>
                <c:pt idx="10">
                  <c:v>299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8</c:v>
                </c:pt>
                <c:pt idx="1">
                  <c:v>IX 100</c:v>
                </c:pt>
                <c:pt idx="2">
                  <c:v/>
                </c:pt>
                <c:pt idx="3">
                  <c:v>IX 47</c:v>
                </c:pt>
                <c:pt idx="4">
                  <c:v>IX 100</c:v>
                </c:pt>
                <c:pt idx="5">
                  <c:v>IX 64</c:v>
                </c:pt>
                <c:pt idx="6">
                  <c:v/>
                </c:pt>
                <c:pt idx="7">
                  <c:v/>
                </c:pt>
                <c:pt idx="8">
                  <c:v>IX 11</c:v>
                </c:pt>
                <c:pt idx="9">
                  <c:v/>
                </c:pt>
                <c:pt idx="10">
                  <c:v>IX 100</c:v>
                </c:pt>
                <c:pt idx="11">
                  <c:v/>
                </c:pt>
                <c:pt idx="12">
                  <c:v/>
                </c:pt>
              </c:strCache>
            </c:strRef>
          </c:cat>
          <c:val>
            <c:numRef>
              <c:f>Sheet1!$D$2:$D$14</c:f>
              <c:numCache>
                <c:formatCode>General</c:formatCode>
                <c:ptCount val="13"/>
                <c:pt idx="0">
                  <c:v>3034.06</c:v>
                </c:pt>
                <c:pt idx="1">
                  <c:v>1421.6</c:v>
                </c:pt>
                <c:pt idx="2">
                  <c:v>2289.7</c:v>
                </c:pt>
                <c:pt idx="3">
                  <c:v>8995.84</c:v>
                </c:pt>
                <c:pt idx="7">
                  <c:v>8977.9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8</c:v>
                </c:pt>
                <c:pt idx="1">
                  <c:v>IX 100</c:v>
                </c:pt>
                <c:pt idx="2">
                  <c:v/>
                </c:pt>
                <c:pt idx="3">
                  <c:v>IX 47</c:v>
                </c:pt>
                <c:pt idx="4">
                  <c:v>IX 100</c:v>
                </c:pt>
                <c:pt idx="5">
                  <c:v>IX 64</c:v>
                </c:pt>
                <c:pt idx="6">
                  <c:v/>
                </c:pt>
                <c:pt idx="7">
                  <c:v/>
                </c:pt>
                <c:pt idx="8">
                  <c:v>IX 11</c:v>
                </c:pt>
                <c:pt idx="9">
                  <c:v/>
                </c:pt>
                <c:pt idx="10">
                  <c:v>IX 100</c:v>
                </c:pt>
                <c:pt idx="11">
                  <c:v/>
                </c:pt>
                <c:pt idx="12">
                  <c:v/>
                </c:pt>
              </c:strCache>
            </c:strRef>
          </c:cat>
          <c:val>
            <c:numRef>
              <c:f>Sheet1!$E$2:$E$14</c:f>
              <c:numCache>
                <c:formatCode>General</c:formatCode>
                <c:ptCount val="13"/>
                <c:pt idx="0">
                  <c:v>12511.07</c:v>
                </c:pt>
                <c:pt idx="1">
                  <c:v>7530.49</c:v>
                </c:pt>
                <c:pt idx="2">
                  <c:v>2575.07</c:v>
                </c:pt>
                <c:pt idx="3">
                  <c:v>13022.58</c:v>
                </c:pt>
                <c:pt idx="4">
                  <c:v>2750.12</c:v>
                </c:pt>
                <c:pt idx="5">
                  <c:v>3184.07</c:v>
                </c:pt>
                <c:pt idx="6">
                  <c:v>51589.4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8</c:v>
                </c:pt>
                <c:pt idx="1">
                  <c:v>IX 100</c:v>
                </c:pt>
                <c:pt idx="2">
                  <c:v/>
                </c:pt>
                <c:pt idx="3">
                  <c:v>IX 47</c:v>
                </c:pt>
                <c:pt idx="4">
                  <c:v>IX 100</c:v>
                </c:pt>
                <c:pt idx="5">
                  <c:v>IX 64</c:v>
                </c:pt>
                <c:pt idx="6">
                  <c:v/>
                </c:pt>
                <c:pt idx="7">
                  <c:v/>
                </c:pt>
                <c:pt idx="8">
                  <c:v>IX 11</c:v>
                </c:pt>
                <c:pt idx="9">
                  <c:v/>
                </c:pt>
                <c:pt idx="10">
                  <c:v>IX 100</c:v>
                </c:pt>
                <c:pt idx="11">
                  <c:v/>
                </c:pt>
                <c:pt idx="12">
                  <c:v/>
                </c:pt>
              </c:strCache>
            </c:strRef>
          </c:cat>
          <c:val>
            <c:numRef>
              <c:f>Sheet1!$F$2:$F$14</c:f>
              <c:numCache>
                <c:formatCode>General</c:formatCode>
                <c:ptCount val="13"/>
                <c:pt idx="0">
                  <c:v>7551.22</c:v>
                </c:pt>
                <c:pt idx="1">
                  <c:v>6314.44</c:v>
                </c:pt>
                <c:pt idx="2">
                  <c:v>11691.08</c:v>
                </c:pt>
                <c:pt idx="3">
                  <c:v>12529.91</c:v>
                </c:pt>
                <c:pt idx="4">
                  <c:v>4690.0</c:v>
                </c:pt>
                <c:pt idx="5">
                  <c:v>6796.84</c:v>
                </c:pt>
                <c:pt idx="8">
                  <c:v>5409.61</c:v>
                </c:pt>
                <c:pt idx="9">
                  <c:v>5441.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9.977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1</c:v>
                </c:pt>
                <c:pt idx="5">
                  <c:v/>
                </c:pt>
                <c:pt idx="6">
                  <c:v>IX 100</c:v>
                </c:pt>
                <c:pt idx="7">
                  <c:v/>
                </c:pt>
                <c:pt idx="8">
                  <c:v/>
                </c:pt>
                <c:pt idx="9">
                  <c:v/>
                </c:pt>
                <c:pt idx="10">
                  <c:v>IX 100</c:v>
                </c:pt>
                <c:pt idx="11">
                  <c:v/>
                </c:pt>
              </c:strCache>
            </c:strRef>
          </c:cat>
          <c:val>
            <c:numRef>
              <c:f>Sheet1!$B$2:$B$13</c:f>
              <c:numCache>
                <c:formatCode>General</c:formatCode>
                <c:ptCount val="12"/>
                <c:pt idx="0">
                  <c:v>4768.93</c:v>
                </c:pt>
                <c:pt idx="1">
                  <c:v>13698.91</c:v>
                </c:pt>
                <c:pt idx="2">
                  <c:v>4428.47</c:v>
                </c:pt>
                <c:pt idx="3">
                  <c:v>1990.74</c:v>
                </c:pt>
                <c:pt idx="4">
                  <c:v>4403.47</c:v>
                </c:pt>
                <c:pt idx="5">
                  <c:v>38518.41</c:v>
                </c:pt>
                <c:pt idx="6">
                  <c:v>2041.46</c:v>
                </c:pt>
                <c:pt idx="7">
                  <c:v>10908.83</c:v>
                </c:pt>
                <c:pt idx="8">
                  <c:v>3034.86</c:v>
                </c:pt>
                <c:pt idx="9">
                  <c:v>7578.0</c:v>
                </c:pt>
                <c:pt idx="10">
                  <c:v>5965.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a:t>
                    </a:r>
                  </a:p>
                  <a:p>
                    <a:r>
                      <a:t>1235.94</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354.78</a:t>
                    </a:r>
                  </a:p>
                </c:rich>
              </c:tx>
              <c:dLblPos val="l"/>
              <c:showLegendKey val="0"/>
              <c:showVal val="1"/>
              <c:showCatName val="0"/>
              <c:showSerName val="0"/>
              <c:showPercent val="0"/>
              <c:showBubbleSize val="0"/>
            </c:dLbl>
            <c:dLbl>
              <c:idx val="4"/>
              <c:tx>
                <c:rich>
                  <a:bodyPr/>
                  <a:lstStyle/>
                  <a:p>
                    <a:r>
                      <a:t>IX 61</a:t>
                    </a:r>
                  </a:p>
                  <a:p>
                    <a:r>
                      <a:t>4352.0</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660.89</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5965.05</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1</c:v>
                </c:pt>
                <c:pt idx="5">
                  <c:v/>
                </c:pt>
                <c:pt idx="6">
                  <c:v>IX 100</c:v>
                </c:pt>
                <c:pt idx="7">
                  <c:v/>
                </c:pt>
                <c:pt idx="8">
                  <c:v/>
                </c:pt>
                <c:pt idx="9">
                  <c:v/>
                </c:pt>
                <c:pt idx="10">
                  <c:v>IX 100</c:v>
                </c:pt>
                <c:pt idx="11">
                  <c:v/>
                </c:pt>
              </c:strCache>
            </c:strRef>
          </c:cat>
          <c:val>
            <c:numRef>
              <c:f>Sheet1!$C$2:$C$13</c:f>
              <c:numCache>
                <c:formatCode>General</c:formatCode>
                <c:ptCount val="12"/>
                <c:pt idx="0">
                  <c:v>1235.94</c:v>
                </c:pt>
                <c:pt idx="3">
                  <c:v>1354.78</c:v>
                </c:pt>
                <c:pt idx="4">
                  <c:v>4352.0</c:v>
                </c:pt>
                <c:pt idx="6">
                  <c:v>1660.89</c:v>
                </c:pt>
                <c:pt idx="10">
                  <c:v>5965.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1</c:v>
                </c:pt>
                <c:pt idx="5">
                  <c:v/>
                </c:pt>
                <c:pt idx="6">
                  <c:v>IX 100</c:v>
                </c:pt>
                <c:pt idx="7">
                  <c:v/>
                </c:pt>
                <c:pt idx="8">
                  <c:v/>
                </c:pt>
                <c:pt idx="9">
                  <c:v/>
                </c:pt>
                <c:pt idx="10">
                  <c:v>IX 100</c:v>
                </c:pt>
                <c:pt idx="11">
                  <c:v/>
                </c:pt>
              </c:strCache>
            </c:strRef>
          </c:cat>
          <c:val>
            <c:numRef>
              <c:f>Sheet1!$D$2:$D$13</c:f>
              <c:numCache>
                <c:formatCode>General</c:formatCode>
                <c:ptCount val="12"/>
                <c:pt idx="0">
                  <c:v>12652.21</c:v>
                </c:pt>
                <c:pt idx="1">
                  <c:v>13336.99</c:v>
                </c:pt>
                <c:pt idx="2">
                  <c:v>2602.64</c:v>
                </c:pt>
                <c:pt idx="3">
                  <c:v>7712.97</c:v>
                </c:pt>
                <c:pt idx="4">
                  <c:v>3248.4</c:v>
                </c:pt>
                <c:pt idx="5">
                  <c:v>52272.41</c:v>
                </c:pt>
                <c:pt idx="6">
                  <c:v>278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1</c:v>
                </c:pt>
                <c:pt idx="5">
                  <c:v/>
                </c:pt>
                <c:pt idx="6">
                  <c:v>IX 100</c:v>
                </c:pt>
                <c:pt idx="7">
                  <c:v/>
                </c:pt>
                <c:pt idx="8">
                  <c:v/>
                </c:pt>
                <c:pt idx="9">
                  <c:v/>
                </c:pt>
                <c:pt idx="10">
                  <c:v>IX 100</c:v>
                </c:pt>
                <c:pt idx="11">
                  <c:v/>
                </c:pt>
              </c:strCache>
            </c:strRef>
          </c:cat>
          <c:val>
            <c:numRef>
              <c:f>Sheet1!$E$2:$E$13</c:f>
              <c:numCache>
                <c:formatCode>General</c:formatCode>
                <c:ptCount val="12"/>
                <c:pt idx="0">
                  <c:v>4909.9</c:v>
                </c:pt>
                <c:pt idx="1">
                  <c:v>11166.01</c:v>
                </c:pt>
                <c:pt idx="2">
                  <c:v>4543.55</c:v>
                </c:pt>
                <c:pt idx="3">
                  <c:v>1631.3</c:v>
                </c:pt>
                <c:pt idx="7">
                  <c:v>9642.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1</c:v>
                </c:pt>
                <c:pt idx="5">
                  <c:v/>
                </c:pt>
                <c:pt idx="6">
                  <c:v>IX 100</c:v>
                </c:pt>
                <c:pt idx="7">
                  <c:v/>
                </c:pt>
                <c:pt idx="8">
                  <c:v/>
                </c:pt>
                <c:pt idx="9">
                  <c:v/>
                </c:pt>
                <c:pt idx="10">
                  <c:v>IX 100</c:v>
                </c:pt>
                <c:pt idx="11">
                  <c:v/>
                </c:pt>
              </c:strCache>
            </c:strRef>
          </c:cat>
          <c:val>
            <c:numRef>
              <c:f>Sheet1!$F$2:$F$13</c:f>
              <c:numCache>
                <c:formatCode>General</c:formatCode>
                <c:ptCount val="12"/>
                <c:pt idx="0">
                  <c:v>8507.44</c:v>
                </c:pt>
                <c:pt idx="1">
                  <c:v>12718.69</c:v>
                </c:pt>
                <c:pt idx="2">
                  <c:v>11741.4</c:v>
                </c:pt>
                <c:pt idx="3">
                  <c:v>6565.64</c:v>
                </c:pt>
                <c:pt idx="4">
                  <c:v>7110.06</c:v>
                </c:pt>
                <c:pt idx="6">
                  <c:v>4909.51</c:v>
                </c:pt>
                <c:pt idx="8">
                  <c:v>5622.41</c:v>
                </c:pt>
                <c:pt idx="9">
                  <c:v>6082.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72.912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86</c:v>
                </c:pt>
                <c:pt idx="2">
                  <c:v/>
                </c:pt>
                <c:pt idx="3">
                  <c:v>IX 100</c:v>
                </c:pt>
                <c:pt idx="4">
                  <c:v>IX 0</c:v>
                </c:pt>
                <c:pt idx="5">
                  <c:v/>
                </c:pt>
                <c:pt idx="6">
                  <c:v/>
                </c:pt>
                <c:pt idx="7">
                  <c:v/>
                </c:pt>
                <c:pt idx="8">
                  <c:v/>
                </c:pt>
              </c:strCache>
            </c:strRef>
          </c:cat>
          <c:val>
            <c:numRef>
              <c:f>Sheet1!$B$2:$B$10</c:f>
              <c:numCache>
                <c:formatCode>General</c:formatCode>
                <c:ptCount val="9"/>
                <c:pt idx="0">
                  <c:v>1280.45</c:v>
                </c:pt>
                <c:pt idx="1">
                  <c:v>1349.38</c:v>
                </c:pt>
                <c:pt idx="2">
                  <c:v>1844.49</c:v>
                </c:pt>
                <c:pt idx="3">
                  <c:v>1505.84</c:v>
                </c:pt>
                <c:pt idx="4">
                  <c:v>791.63</c:v>
                </c:pt>
                <c:pt idx="5">
                  <c:v>13214.68</c:v>
                </c:pt>
                <c:pt idx="6">
                  <c:v>6042.8</c:v>
                </c:pt>
                <c:pt idx="7">
                  <c:v>18560.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8</a:t>
                    </a:r>
                  </a:p>
                  <a:p>
                    <a:r>
                      <a:t>1024.48</a:t>
                    </a:r>
                  </a:p>
                </c:rich>
              </c:tx>
              <c:dLblPos val="l"/>
              <c:showLegendKey val="0"/>
              <c:showVal val="1"/>
              <c:showCatName val="0"/>
              <c:showSerName val="0"/>
              <c:showPercent val="0"/>
              <c:showBubbleSize val="0"/>
            </c:dLbl>
            <c:dLbl>
              <c:idx val="1"/>
              <c:tx>
                <c:rich>
                  <a:bodyPr/>
                  <a:lstStyle/>
                  <a:p>
                    <a:r>
                      <a:t>IX 86</a:t>
                    </a:r>
                  </a:p>
                  <a:p>
                    <a:r>
                      <a:t>1188.7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632.99</a:t>
                    </a:r>
                  </a:p>
                </c:rich>
              </c:tx>
              <c:dLblPos val="l"/>
              <c:showLegendKey val="0"/>
              <c:showVal val="1"/>
              <c:showCatName val="0"/>
              <c:showSerName val="0"/>
              <c:showPercent val="0"/>
              <c:showBubbleSize val="0"/>
            </c:dLbl>
            <c:dLbl>
              <c:idx val="4"/>
              <c:tx>
                <c:rich>
                  <a:bodyPr/>
                  <a:lstStyle/>
                  <a:p>
                    <a:r>
                      <a:t>IX 0</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86</c:v>
                </c:pt>
                <c:pt idx="2">
                  <c:v/>
                </c:pt>
                <c:pt idx="3">
                  <c:v>IX 100</c:v>
                </c:pt>
                <c:pt idx="4">
                  <c:v>IX 0</c:v>
                </c:pt>
                <c:pt idx="5">
                  <c:v/>
                </c:pt>
                <c:pt idx="6">
                  <c:v/>
                </c:pt>
                <c:pt idx="7">
                  <c:v/>
                </c:pt>
                <c:pt idx="8">
                  <c:v/>
                </c:pt>
              </c:strCache>
            </c:strRef>
          </c:cat>
          <c:val>
            <c:numRef>
              <c:f>Sheet1!$C$2:$C$10</c:f>
              <c:numCache>
                <c:formatCode>General</c:formatCode>
                <c:ptCount val="9"/>
                <c:pt idx="0">
                  <c:v>1024.48</c:v>
                </c:pt>
                <c:pt idx="1">
                  <c:v>1188.75</c:v>
                </c:pt>
                <c:pt idx="3">
                  <c:v>1632.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86</c:v>
                </c:pt>
                <c:pt idx="2">
                  <c:v/>
                </c:pt>
                <c:pt idx="3">
                  <c:v>IX 100</c:v>
                </c:pt>
                <c:pt idx="4">
                  <c:v>IX 0</c:v>
                </c:pt>
                <c:pt idx="5">
                  <c:v/>
                </c:pt>
                <c:pt idx="6">
                  <c:v/>
                </c:pt>
                <c:pt idx="7">
                  <c:v/>
                </c:pt>
                <c:pt idx="8">
                  <c:v/>
                </c:pt>
              </c:strCache>
            </c:strRef>
          </c:cat>
          <c:val>
            <c:numRef>
              <c:f>Sheet1!$D$2:$D$10</c:f>
              <c:numCache>
                <c:formatCode>General</c:formatCode>
                <c:ptCount val="9"/>
                <c:pt idx="0">
                  <c:v>2717.15</c:v>
                </c:pt>
                <c:pt idx="1">
                  <c:v>1386.54</c:v>
                </c:pt>
                <c:pt idx="2">
                  <c:v>1828.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86</c:v>
                </c:pt>
                <c:pt idx="2">
                  <c:v/>
                </c:pt>
                <c:pt idx="3">
                  <c:v>IX 100</c:v>
                </c:pt>
                <c:pt idx="4">
                  <c:v>IX 0</c:v>
                </c:pt>
                <c:pt idx="5">
                  <c:v/>
                </c:pt>
                <c:pt idx="6">
                  <c:v/>
                </c:pt>
                <c:pt idx="7">
                  <c:v/>
                </c:pt>
                <c:pt idx="8">
                  <c:v/>
                </c:pt>
              </c:strCache>
            </c:strRef>
          </c:cat>
          <c:val>
            <c:numRef>
              <c:f>Sheet1!$E$2:$E$10</c:f>
              <c:numCache>
                <c:formatCode>General</c:formatCode>
                <c:ptCount val="9"/>
                <c:pt idx="0">
                  <c:v>8692.82</c:v>
                </c:pt>
                <c:pt idx="2">
                  <c:v>1874.19</c:v>
                </c:pt>
                <c:pt idx="5">
                  <c:v>13214.6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86</c:v>
                </c:pt>
                <c:pt idx="2">
                  <c:v/>
                </c:pt>
                <c:pt idx="3">
                  <c:v>IX 100</c:v>
                </c:pt>
                <c:pt idx="4">
                  <c:v>IX 0</c:v>
                </c:pt>
                <c:pt idx="5">
                  <c:v/>
                </c:pt>
                <c:pt idx="6">
                  <c:v/>
                </c:pt>
                <c:pt idx="7">
                  <c:v/>
                </c:pt>
                <c:pt idx="8">
                  <c:v/>
                </c:pt>
              </c:strCache>
            </c:strRef>
          </c:cat>
          <c:val>
            <c:numRef>
              <c:f>Sheet1!$F$2:$F$10</c:f>
              <c:numCache>
                <c:formatCode>General</c:formatCode>
                <c:ptCount val="9"/>
                <c:pt idx="1">
                  <c:v>4328.5</c:v>
                </c:pt>
                <c:pt idx="6">
                  <c:v>604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100</c:v>
                </c:pt>
                <c:pt idx="2">
                  <c:v/>
                </c:pt>
                <c:pt idx="3">
                  <c:v>IX 100</c:v>
                </c:pt>
                <c:pt idx="4">
                  <c:v>IX 46</c:v>
                </c:pt>
                <c:pt idx="5">
                  <c:v/>
                </c:pt>
                <c:pt idx="6">
                  <c:v/>
                </c:pt>
                <c:pt idx="7">
                  <c:v>IX 100</c:v>
                </c:pt>
                <c:pt idx="8">
                  <c:v/>
                </c:pt>
                <c:pt idx="9">
                  <c:v>IX 100</c:v>
                </c:pt>
                <c:pt idx="10">
                  <c:v/>
                </c:pt>
                <c:pt idx="11">
                  <c:v/>
                </c:pt>
              </c:strCache>
            </c:strRef>
          </c:cat>
          <c:val>
            <c:numRef>
              <c:f>Sheet1!$B$2:$B$13</c:f>
              <c:numCache>
                <c:formatCode>General</c:formatCode>
                <c:ptCount val="12"/>
                <c:pt idx="0">
                  <c:v>1636.52</c:v>
                </c:pt>
                <c:pt idx="1">
                  <c:v>1386.24</c:v>
                </c:pt>
                <c:pt idx="2">
                  <c:v>1742.97</c:v>
                </c:pt>
                <c:pt idx="3">
                  <c:v>1480.81</c:v>
                </c:pt>
                <c:pt idx="4">
                  <c:v>10910.92</c:v>
                </c:pt>
                <c:pt idx="5">
                  <c:v>2652.47</c:v>
                </c:pt>
                <c:pt idx="6">
                  <c:v>26926.25</c:v>
                </c:pt>
                <c:pt idx="7">
                  <c:v>1285.16</c:v>
                </c:pt>
                <c:pt idx="8">
                  <c:v>5288.91</c:v>
                </c:pt>
                <c:pt idx="9">
                  <c:v>2887.28</c:v>
                </c:pt>
                <c:pt idx="10">
                  <c:v>5981.9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109.12</a:t>
                    </a:r>
                  </a:p>
                </c:rich>
              </c:tx>
              <c:dLblPos val="l"/>
              <c:showLegendKey val="0"/>
              <c:showVal val="1"/>
              <c:showCatName val="0"/>
              <c:showSerName val="0"/>
              <c:showPercent val="0"/>
              <c:showBubbleSize val="0"/>
            </c:dLbl>
            <c:dLbl>
              <c:idx val="1"/>
              <c:tx>
                <c:rich>
                  <a:bodyPr/>
                  <a:lstStyle/>
                  <a:p>
                    <a:r>
                      <a:t>IX 100</a:t>
                    </a:r>
                  </a:p>
                  <a:p>
                    <a:r>
                      <a:t>1281.8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403.16</a:t>
                    </a:r>
                  </a:p>
                </c:rich>
              </c:tx>
              <c:dLblPos val="l"/>
              <c:showLegendKey val="0"/>
              <c:showVal val="1"/>
              <c:showCatName val="0"/>
              <c:showSerName val="0"/>
              <c:showPercent val="0"/>
              <c:showBubbleSize val="0"/>
            </c:dLbl>
            <c:dLbl>
              <c:idx val="4"/>
              <c:tx>
                <c:rich>
                  <a:bodyPr/>
                  <a:lstStyle/>
                  <a:p>
                    <a:r>
                      <a:t>IX 46</a:t>
                    </a:r>
                  </a:p>
                  <a:p>
                    <a:r>
                      <a:t>5633.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IX 100</a:t>
                    </a:r>
                  </a:p>
                  <a:p>
                    <a:r>
                      <a:t>601.47</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IX 100</a:t>
                    </a:r>
                  </a:p>
                  <a:p>
                    <a:r>
                      <a:t>2887.28</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100</c:v>
                </c:pt>
                <c:pt idx="2">
                  <c:v/>
                </c:pt>
                <c:pt idx="3">
                  <c:v>IX 100</c:v>
                </c:pt>
                <c:pt idx="4">
                  <c:v>IX 46</c:v>
                </c:pt>
                <c:pt idx="5">
                  <c:v/>
                </c:pt>
                <c:pt idx="6">
                  <c:v/>
                </c:pt>
                <c:pt idx="7">
                  <c:v>IX 100</c:v>
                </c:pt>
                <c:pt idx="8">
                  <c:v/>
                </c:pt>
                <c:pt idx="9">
                  <c:v>IX 100</c:v>
                </c:pt>
                <c:pt idx="10">
                  <c:v/>
                </c:pt>
                <c:pt idx="11">
                  <c:v/>
                </c:pt>
              </c:strCache>
            </c:strRef>
          </c:cat>
          <c:val>
            <c:numRef>
              <c:f>Sheet1!$C$2:$C$13</c:f>
              <c:numCache>
                <c:formatCode>General</c:formatCode>
                <c:ptCount val="12"/>
                <c:pt idx="0">
                  <c:v>1109.12</c:v>
                </c:pt>
                <c:pt idx="1">
                  <c:v>1281.87</c:v>
                </c:pt>
                <c:pt idx="3">
                  <c:v>1403.16</c:v>
                </c:pt>
                <c:pt idx="4">
                  <c:v>5633.8</c:v>
                </c:pt>
                <c:pt idx="7">
                  <c:v>601.47</c:v>
                </c:pt>
                <c:pt idx="9">
                  <c:v>2887.2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100</c:v>
                </c:pt>
                <c:pt idx="2">
                  <c:v/>
                </c:pt>
                <c:pt idx="3">
                  <c:v>IX 100</c:v>
                </c:pt>
                <c:pt idx="4">
                  <c:v>IX 46</c:v>
                </c:pt>
                <c:pt idx="5">
                  <c:v/>
                </c:pt>
                <c:pt idx="6">
                  <c:v/>
                </c:pt>
                <c:pt idx="7">
                  <c:v>IX 100</c:v>
                </c:pt>
                <c:pt idx="8">
                  <c:v/>
                </c:pt>
                <c:pt idx="9">
                  <c:v>IX 100</c:v>
                </c:pt>
                <c:pt idx="10">
                  <c:v/>
                </c:pt>
                <c:pt idx="11">
                  <c:v/>
                </c:pt>
              </c:strCache>
            </c:strRef>
          </c:cat>
          <c:val>
            <c:numRef>
              <c:f>Sheet1!$D$2:$D$13</c:f>
              <c:numCache>
                <c:formatCode>General</c:formatCode>
                <c:ptCount val="12"/>
                <c:pt idx="0">
                  <c:v>2429.02</c:v>
                </c:pt>
                <c:pt idx="1">
                  <c:v>1355.91</c:v>
                </c:pt>
                <c:pt idx="2">
                  <c:v>1548.92</c:v>
                </c:pt>
                <c:pt idx="4">
                  <c:v>7151.54</c:v>
                </c:pt>
                <c:pt idx="10">
                  <c:v>5394.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100</c:v>
                </c:pt>
                <c:pt idx="2">
                  <c:v/>
                </c:pt>
                <c:pt idx="3">
                  <c:v>IX 100</c:v>
                </c:pt>
                <c:pt idx="4">
                  <c:v>IX 46</c:v>
                </c:pt>
                <c:pt idx="5">
                  <c:v/>
                </c:pt>
                <c:pt idx="6">
                  <c:v/>
                </c:pt>
                <c:pt idx="7">
                  <c:v>IX 100</c:v>
                </c:pt>
                <c:pt idx="8">
                  <c:v/>
                </c:pt>
                <c:pt idx="9">
                  <c:v>IX 100</c:v>
                </c:pt>
                <c:pt idx="10">
                  <c:v/>
                </c:pt>
                <c:pt idx="11">
                  <c:v/>
                </c:pt>
              </c:strCache>
            </c:strRef>
          </c:cat>
          <c:val>
            <c:numRef>
              <c:f>Sheet1!$E$2:$E$13</c:f>
              <c:numCache>
                <c:formatCode>General</c:formatCode>
                <c:ptCount val="12"/>
                <c:pt idx="0">
                  <c:v>12548.96</c:v>
                </c:pt>
                <c:pt idx="1">
                  <c:v>7565.55</c:v>
                </c:pt>
                <c:pt idx="2">
                  <c:v>2469.05</c:v>
                </c:pt>
                <c:pt idx="3">
                  <c:v>3020.95</c:v>
                </c:pt>
                <c:pt idx="4">
                  <c:v>14196.87</c:v>
                </c:pt>
                <c:pt idx="5">
                  <c:v>3055.81</c:v>
                </c:pt>
                <c:pt idx="6">
                  <c:v>61148.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100</c:v>
                </c:pt>
                <c:pt idx="2">
                  <c:v/>
                </c:pt>
                <c:pt idx="3">
                  <c:v>IX 100</c:v>
                </c:pt>
                <c:pt idx="4">
                  <c:v>IX 46</c:v>
                </c:pt>
                <c:pt idx="5">
                  <c:v/>
                </c:pt>
                <c:pt idx="6">
                  <c:v/>
                </c:pt>
                <c:pt idx="7">
                  <c:v>IX 100</c:v>
                </c:pt>
                <c:pt idx="8">
                  <c:v/>
                </c:pt>
                <c:pt idx="9">
                  <c:v>IX 100</c:v>
                </c:pt>
                <c:pt idx="10">
                  <c:v/>
                </c:pt>
                <c:pt idx="11">
                  <c:v/>
                </c:pt>
              </c:strCache>
            </c:strRef>
          </c:cat>
          <c:val>
            <c:numRef>
              <c:f>Sheet1!$F$2:$F$13</c:f>
              <c:numCache>
                <c:formatCode>General</c:formatCode>
                <c:ptCount val="12"/>
                <c:pt idx="0">
                  <c:v>5991.31</c:v>
                </c:pt>
                <c:pt idx="1">
                  <c:v>6312.49</c:v>
                </c:pt>
                <c:pt idx="2">
                  <c:v>11667.33</c:v>
                </c:pt>
                <c:pt idx="3">
                  <c:v>5119.09</c:v>
                </c:pt>
                <c:pt idx="4">
                  <c:v>12257.14</c:v>
                </c:pt>
                <c:pt idx="5">
                  <c:v>6025.76</c:v>
                </c:pt>
                <c:pt idx="7">
                  <c:v>2877.03</c:v>
                </c:pt>
                <c:pt idx="8">
                  <c:v>5288.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148.7078"/>
          <c:min val="600.9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
                </c:pt>
                <c:pt idx="4">
                  <c:v/>
                </c:pt>
                <c:pt idx="5">
                  <c:v/>
                </c:pt>
                <c:pt idx="6">
                  <c:v/>
                </c:pt>
                <c:pt idx="7">
                  <c:v/>
                </c:pt>
                <c:pt idx="8">
                  <c:v/>
                </c:pt>
                <c:pt idx="9">
                  <c:v/>
                </c:pt>
                <c:pt idx="10">
                  <c:v/>
                </c:pt>
                <c:pt idx="11">
                  <c:v>IX 100</c:v>
                </c:pt>
                <c:pt idx="12">
                  <c:v/>
                </c:pt>
                <c:pt idx="13">
                  <c:v/>
                </c:pt>
              </c:strCache>
            </c:strRef>
          </c:cat>
          <c:val>
            <c:numRef>
              <c:f>Sheet1!$B$2:$B$15</c:f>
              <c:numCache>
                <c:formatCode>General</c:formatCode>
                <c:ptCount val="14"/>
                <c:pt idx="0">
                  <c:v>2480.85</c:v>
                </c:pt>
                <c:pt idx="1">
                  <c:v>1533.61</c:v>
                </c:pt>
                <c:pt idx="2">
                  <c:v>3000.15</c:v>
                </c:pt>
                <c:pt idx="3">
                  <c:v>12486.01</c:v>
                </c:pt>
                <c:pt idx="4">
                  <c:v>1589.2</c:v>
                </c:pt>
                <c:pt idx="5">
                  <c:v>3616.83</c:v>
                </c:pt>
                <c:pt idx="6">
                  <c:v>29942.36</c:v>
                </c:pt>
                <c:pt idx="7">
                  <c:v>9679.45</c:v>
                </c:pt>
                <c:pt idx="8">
                  <c:v>2070.22</c:v>
                </c:pt>
                <c:pt idx="9">
                  <c:v>5721.79</c:v>
                </c:pt>
                <c:pt idx="10">
                  <c:v>2761.16</c:v>
                </c:pt>
                <c:pt idx="11">
                  <c:v>7742.87</c:v>
                </c:pt>
                <c:pt idx="12">
                  <c:v>15748.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a:t>
                    </a:r>
                  </a:p>
                  <a:p>
                    <a:r>
                      <a:t>1156.16</a:t>
                    </a:r>
                  </a:p>
                </c:rich>
              </c:tx>
              <c:dLblPos val="l"/>
              <c:showLegendKey val="0"/>
              <c:showVal val="1"/>
              <c:showCatName val="0"/>
              <c:showSerName val="0"/>
              <c:showPercent val="0"/>
              <c:showBubbleSize val="0"/>
            </c:dLbl>
            <c:dLbl>
              <c:idx val="1"/>
              <c:tx>
                <c:rich>
                  <a:bodyPr/>
                  <a:lstStyle/>
                  <a:p>
                    <a:r>
                      <a:t>IX 100</a:t>
                    </a:r>
                  </a:p>
                  <a:p>
                    <a:r>
                      <a:t>1240.5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IX 100</a:t>
                    </a:r>
                  </a:p>
                  <a:p>
                    <a:r>
                      <a:t>1420.8</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
                </c:pt>
                <c:pt idx="4">
                  <c:v/>
                </c:pt>
                <c:pt idx="5">
                  <c:v/>
                </c:pt>
                <c:pt idx="6">
                  <c:v/>
                </c:pt>
                <c:pt idx="7">
                  <c:v/>
                </c:pt>
                <c:pt idx="8">
                  <c:v/>
                </c:pt>
                <c:pt idx="9">
                  <c:v/>
                </c:pt>
                <c:pt idx="10">
                  <c:v/>
                </c:pt>
                <c:pt idx="11">
                  <c:v>IX 100</c:v>
                </c:pt>
                <c:pt idx="12">
                  <c:v/>
                </c:pt>
                <c:pt idx="13">
                  <c:v/>
                </c:pt>
              </c:strCache>
            </c:strRef>
          </c:cat>
          <c:val>
            <c:numRef>
              <c:f>Sheet1!$C$2:$C$15</c:f>
              <c:numCache>
                <c:formatCode>General</c:formatCode>
                <c:ptCount val="14"/>
                <c:pt idx="0">
                  <c:v>1156.16</c:v>
                </c:pt>
                <c:pt idx="1">
                  <c:v>1240.52</c:v>
                </c:pt>
                <c:pt idx="11">
                  <c:v>142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
                </c:pt>
                <c:pt idx="4">
                  <c:v/>
                </c:pt>
                <c:pt idx="5">
                  <c:v/>
                </c:pt>
                <c:pt idx="6">
                  <c:v/>
                </c:pt>
                <c:pt idx="7">
                  <c:v/>
                </c:pt>
                <c:pt idx="8">
                  <c:v/>
                </c:pt>
                <c:pt idx="9">
                  <c:v/>
                </c:pt>
                <c:pt idx="10">
                  <c:v/>
                </c:pt>
                <c:pt idx="11">
                  <c:v>IX 100</c:v>
                </c:pt>
                <c:pt idx="12">
                  <c:v/>
                </c:pt>
                <c:pt idx="13">
                  <c:v/>
                </c:pt>
              </c:strCache>
            </c:strRef>
          </c:cat>
          <c:val>
            <c:numRef>
              <c:f>Sheet1!$D$2:$D$15</c:f>
              <c:numCache>
                <c:formatCode>General</c:formatCode>
                <c:ptCount val="14"/>
                <c:pt idx="0">
                  <c:v>12358.24</c:v>
                </c:pt>
                <c:pt idx="1">
                  <c:v>7350.95</c:v>
                </c:pt>
                <c:pt idx="2">
                  <c:v>2556.52</c:v>
                </c:pt>
                <c:pt idx="3">
                  <c:v>12979.89</c:v>
                </c:pt>
                <c:pt idx="4">
                  <c:v>2673.18</c:v>
                </c:pt>
                <c:pt idx="5">
                  <c:v>3161.84</c:v>
                </c:pt>
                <c:pt idx="6">
                  <c:v>48001.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
                </c:pt>
                <c:pt idx="4">
                  <c:v/>
                </c:pt>
                <c:pt idx="5">
                  <c:v/>
                </c:pt>
                <c:pt idx="6">
                  <c:v/>
                </c:pt>
                <c:pt idx="7">
                  <c:v/>
                </c:pt>
                <c:pt idx="8">
                  <c:v/>
                </c:pt>
                <c:pt idx="9">
                  <c:v/>
                </c:pt>
                <c:pt idx="10">
                  <c:v/>
                </c:pt>
                <c:pt idx="11">
                  <c:v>IX 100</c:v>
                </c:pt>
                <c:pt idx="12">
                  <c:v/>
                </c:pt>
                <c:pt idx="13">
                  <c:v/>
                </c:pt>
              </c:strCache>
            </c:strRef>
          </c:cat>
          <c:val>
            <c:numRef>
              <c:f>Sheet1!$E$2:$E$15</c:f>
              <c:numCache>
                <c:formatCode>General</c:formatCode>
                <c:ptCount val="14"/>
                <c:pt idx="0">
                  <c:v>11707.12</c:v>
                </c:pt>
                <c:pt idx="1">
                  <c:v>7005.15</c:v>
                </c:pt>
                <c:pt idx="2">
                  <c:v>11483.51</c:v>
                </c:pt>
                <c:pt idx="3">
                  <c:v>12302.61</c:v>
                </c:pt>
                <c:pt idx="4">
                  <c:v>4265.09</c:v>
                </c:pt>
                <c:pt idx="5">
                  <c:v>6280.08</c:v>
                </c:pt>
                <c:pt idx="8">
                  <c:v>4860.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
                </c:pt>
                <c:pt idx="4">
                  <c:v/>
                </c:pt>
                <c:pt idx="5">
                  <c:v/>
                </c:pt>
                <c:pt idx="6">
                  <c:v/>
                </c:pt>
                <c:pt idx="7">
                  <c:v/>
                </c:pt>
                <c:pt idx="8">
                  <c:v/>
                </c:pt>
                <c:pt idx="9">
                  <c:v/>
                </c:pt>
                <c:pt idx="10">
                  <c:v/>
                </c:pt>
                <c:pt idx="11">
                  <c:v>IX 100</c:v>
                </c:pt>
                <c:pt idx="12">
                  <c:v/>
                </c:pt>
                <c:pt idx="13">
                  <c:v/>
                </c:pt>
              </c:strCache>
            </c:strRef>
          </c:cat>
          <c:val>
            <c:numRef>
              <c:f>Sheet1!$F$2:$F$15</c:f>
              <c:numCache>
                <c:formatCode>General</c:formatCode>
                <c:ptCount val="14"/>
                <c:pt idx="0">
                  <c:v>8102.98</c:v>
                </c:pt>
                <c:pt idx="1">
                  <c:v>3894.74</c:v>
                </c:pt>
                <c:pt idx="2">
                  <c:v>12461.51</c:v>
                </c:pt>
                <c:pt idx="3">
                  <c:v>11876.42</c:v>
                </c:pt>
                <c:pt idx="7">
                  <c:v>8723.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001.629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IX 45</c:v>
                </c:pt>
                <c:pt idx="4">
                  <c:v>IX 100</c:v>
                </c:pt>
                <c:pt idx="5">
                  <c:v>IX 138</c:v>
                </c:pt>
                <c:pt idx="6">
                  <c:v/>
                </c:pt>
                <c:pt idx="7">
                  <c:v/>
                </c:pt>
                <c:pt idx="8">
                  <c:v>IX 12</c:v>
                </c:pt>
                <c:pt idx="9">
                  <c:v/>
                </c:pt>
                <c:pt idx="10">
                  <c:v>IX 100</c:v>
                </c:pt>
                <c:pt idx="11">
                  <c:v/>
                </c:pt>
                <c:pt idx="12">
                  <c:v/>
                </c:pt>
                <c:pt idx="13">
                  <c:v/>
                </c:pt>
              </c:strCache>
            </c:strRef>
          </c:cat>
          <c:val>
            <c:numRef>
              <c:f>Sheet1!$B$2:$B$15</c:f>
              <c:numCache>
                <c:formatCode>General</c:formatCode>
                <c:ptCount val="14"/>
                <c:pt idx="0">
                  <c:v>2480.85</c:v>
                </c:pt>
                <c:pt idx="1">
                  <c:v>1533.61</c:v>
                </c:pt>
                <c:pt idx="2">
                  <c:v>3000.15</c:v>
                </c:pt>
                <c:pt idx="3">
                  <c:v>12486.01</c:v>
                </c:pt>
                <c:pt idx="4">
                  <c:v>1589.2</c:v>
                </c:pt>
                <c:pt idx="5">
                  <c:v>3616.83</c:v>
                </c:pt>
                <c:pt idx="6">
                  <c:v>29942.36</c:v>
                </c:pt>
                <c:pt idx="7">
                  <c:v>9679.45</c:v>
                </c:pt>
                <c:pt idx="8">
                  <c:v>2070.22</c:v>
                </c:pt>
                <c:pt idx="9">
                  <c:v>5721.79</c:v>
                </c:pt>
                <c:pt idx="10">
                  <c:v>2761.16</c:v>
                </c:pt>
                <c:pt idx="11">
                  <c:v>7742.87</c:v>
                </c:pt>
                <c:pt idx="12">
                  <c:v>15748.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a:t>
                    </a:r>
                  </a:p>
                  <a:p>
                    <a:r>
                      <a:t>1090.97</a:t>
                    </a:r>
                  </a:p>
                </c:rich>
              </c:tx>
              <c:dLblPos val="l"/>
              <c:showLegendKey val="0"/>
              <c:showVal val="1"/>
              <c:showCatName val="0"/>
              <c:showSerName val="0"/>
              <c:showPercent val="0"/>
              <c:showBubbleSize val="0"/>
            </c:dLbl>
            <c:dLbl>
              <c:idx val="1"/>
              <c:tx>
                <c:rich>
                  <a:bodyPr/>
                  <a:lstStyle/>
                  <a:p>
                    <a:r>
                      <a:t>IX 100</a:t>
                    </a:r>
                  </a:p>
                  <a:p>
                    <a:r>
                      <a:t>1276.7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5</a:t>
                    </a:r>
                  </a:p>
                  <a:p>
                    <a:r>
                      <a:t>5581.58</a:t>
                    </a:r>
                  </a:p>
                </c:rich>
              </c:tx>
              <c:dLblPos val="l"/>
              <c:showLegendKey val="0"/>
              <c:showVal val="1"/>
              <c:showCatName val="0"/>
              <c:showSerName val="0"/>
              <c:showPercent val="0"/>
              <c:showBubbleSize val="0"/>
            </c:dLbl>
            <c:dLbl>
              <c:idx val="4"/>
              <c:tx>
                <c:rich>
                  <a:bodyPr/>
                  <a:lstStyle/>
                  <a:p>
                    <a:r>
                      <a:t>IX 100</a:t>
                    </a:r>
                  </a:p>
                  <a:p>
                    <a:r>
                      <a:t>1443.24</a:t>
                    </a:r>
                  </a:p>
                </c:rich>
              </c:tx>
              <c:dLblPos val="l"/>
              <c:showLegendKey val="0"/>
              <c:showVal val="1"/>
              <c:showCatName val="0"/>
              <c:showSerName val="0"/>
              <c:showPercent val="0"/>
              <c:showBubbleSize val="0"/>
            </c:dLbl>
            <c:dLbl>
              <c:idx val="5"/>
              <c:tx>
                <c:rich>
                  <a:bodyPr/>
                  <a:lstStyle/>
                  <a:p>
                    <a:r>
                      <a:t>IX 138</a:t>
                    </a:r>
                  </a:p>
                  <a:p>
                    <a:r>
                      <a:t>4352.0</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2</a:t>
                    </a:r>
                  </a:p>
                  <a:p>
                    <a:r>
                      <a:t>601.47</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2761.16</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IX 45</c:v>
                </c:pt>
                <c:pt idx="4">
                  <c:v>IX 100</c:v>
                </c:pt>
                <c:pt idx="5">
                  <c:v>IX 138</c:v>
                </c:pt>
                <c:pt idx="6">
                  <c:v/>
                </c:pt>
                <c:pt idx="7">
                  <c:v/>
                </c:pt>
                <c:pt idx="8">
                  <c:v>IX 12</c:v>
                </c:pt>
                <c:pt idx="9">
                  <c:v/>
                </c:pt>
                <c:pt idx="10">
                  <c:v>IX 100</c:v>
                </c:pt>
                <c:pt idx="11">
                  <c:v/>
                </c:pt>
                <c:pt idx="12">
                  <c:v/>
                </c:pt>
                <c:pt idx="13">
                  <c:v/>
                </c:pt>
              </c:strCache>
            </c:strRef>
          </c:cat>
          <c:val>
            <c:numRef>
              <c:f>Sheet1!$C$2:$C$15</c:f>
              <c:numCache>
                <c:formatCode>General</c:formatCode>
                <c:ptCount val="14"/>
                <c:pt idx="0">
                  <c:v>1090.97</c:v>
                </c:pt>
                <c:pt idx="1">
                  <c:v>1276.77</c:v>
                </c:pt>
                <c:pt idx="3">
                  <c:v>5581.58</c:v>
                </c:pt>
                <c:pt idx="4">
                  <c:v>1443.24</c:v>
                </c:pt>
                <c:pt idx="5">
                  <c:v>4352.0</c:v>
                </c:pt>
                <c:pt idx="8">
                  <c:v>601.47</c:v>
                </c:pt>
                <c:pt idx="10">
                  <c:v>2761.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IX 45</c:v>
                </c:pt>
                <c:pt idx="4">
                  <c:v>IX 100</c:v>
                </c:pt>
                <c:pt idx="5">
                  <c:v>IX 138</c:v>
                </c:pt>
                <c:pt idx="6">
                  <c:v/>
                </c:pt>
                <c:pt idx="7">
                  <c:v/>
                </c:pt>
                <c:pt idx="8">
                  <c:v>IX 12</c:v>
                </c:pt>
                <c:pt idx="9">
                  <c:v/>
                </c:pt>
                <c:pt idx="10">
                  <c:v>IX 100</c:v>
                </c:pt>
                <c:pt idx="11">
                  <c:v/>
                </c:pt>
                <c:pt idx="12">
                  <c:v/>
                </c:pt>
                <c:pt idx="13">
                  <c:v/>
                </c:pt>
              </c:strCache>
            </c:strRef>
          </c:cat>
          <c:val>
            <c:numRef>
              <c:f>Sheet1!$D$2:$D$15</c:f>
              <c:numCache>
                <c:formatCode>General</c:formatCode>
                <c:ptCount val="14"/>
                <c:pt idx="0">
                  <c:v>12358.24</c:v>
                </c:pt>
                <c:pt idx="1">
                  <c:v>7350.95</c:v>
                </c:pt>
                <c:pt idx="2">
                  <c:v>2556.52</c:v>
                </c:pt>
                <c:pt idx="3">
                  <c:v>12979.89</c:v>
                </c:pt>
                <c:pt idx="4">
                  <c:v>2673.18</c:v>
                </c:pt>
                <c:pt idx="5">
                  <c:v>3161.84</c:v>
                </c:pt>
                <c:pt idx="6">
                  <c:v>48001.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IX 45</c:v>
                </c:pt>
                <c:pt idx="4">
                  <c:v>IX 100</c:v>
                </c:pt>
                <c:pt idx="5">
                  <c:v>IX 138</c:v>
                </c:pt>
                <c:pt idx="6">
                  <c:v/>
                </c:pt>
                <c:pt idx="7">
                  <c:v/>
                </c:pt>
                <c:pt idx="8">
                  <c:v>IX 12</c:v>
                </c:pt>
                <c:pt idx="9">
                  <c:v/>
                </c:pt>
                <c:pt idx="10">
                  <c:v>IX 100</c:v>
                </c:pt>
                <c:pt idx="11">
                  <c:v/>
                </c:pt>
                <c:pt idx="12">
                  <c:v/>
                </c:pt>
                <c:pt idx="13">
                  <c:v/>
                </c:pt>
              </c:strCache>
            </c:strRef>
          </c:cat>
          <c:val>
            <c:numRef>
              <c:f>Sheet1!$E$2:$E$15</c:f>
              <c:numCache>
                <c:formatCode>General</c:formatCode>
                <c:ptCount val="14"/>
                <c:pt idx="0">
                  <c:v>11707.12</c:v>
                </c:pt>
                <c:pt idx="1">
                  <c:v>7005.15</c:v>
                </c:pt>
                <c:pt idx="2">
                  <c:v>11483.51</c:v>
                </c:pt>
                <c:pt idx="3">
                  <c:v>12302.61</c:v>
                </c:pt>
                <c:pt idx="4">
                  <c:v>4265.09</c:v>
                </c:pt>
                <c:pt idx="5">
                  <c:v>6280.08</c:v>
                </c:pt>
                <c:pt idx="8">
                  <c:v>4860.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9</c:v>
                </c:pt>
                <c:pt idx="1">
                  <c:v>IX 100</c:v>
                </c:pt>
                <c:pt idx="2">
                  <c:v/>
                </c:pt>
                <c:pt idx="3">
                  <c:v>IX 45</c:v>
                </c:pt>
                <c:pt idx="4">
                  <c:v>IX 100</c:v>
                </c:pt>
                <c:pt idx="5">
                  <c:v>IX 138</c:v>
                </c:pt>
                <c:pt idx="6">
                  <c:v/>
                </c:pt>
                <c:pt idx="7">
                  <c:v/>
                </c:pt>
                <c:pt idx="8">
                  <c:v>IX 12</c:v>
                </c:pt>
                <c:pt idx="9">
                  <c:v/>
                </c:pt>
                <c:pt idx="10">
                  <c:v>IX 100</c:v>
                </c:pt>
                <c:pt idx="11">
                  <c:v/>
                </c:pt>
                <c:pt idx="12">
                  <c:v/>
                </c:pt>
                <c:pt idx="13">
                  <c:v/>
                </c:pt>
              </c:strCache>
            </c:strRef>
          </c:cat>
          <c:val>
            <c:numRef>
              <c:f>Sheet1!$F$2:$F$15</c:f>
              <c:numCache>
                <c:formatCode>General</c:formatCode>
                <c:ptCount val="14"/>
                <c:pt idx="0">
                  <c:v>8102.98</c:v>
                </c:pt>
                <c:pt idx="1">
                  <c:v>3894.74</c:v>
                </c:pt>
                <c:pt idx="2">
                  <c:v>12461.51</c:v>
                </c:pt>
                <c:pt idx="3">
                  <c:v>11876.42</c:v>
                </c:pt>
                <c:pt idx="7">
                  <c:v>8723.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001.629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53</c:v>
                </c:pt>
                <c:pt idx="2">
                  <c:v/>
                </c:pt>
                <c:pt idx="3">
                  <c:v/>
                </c:pt>
                <c:pt idx="4">
                  <c:v/>
                </c:pt>
                <c:pt idx="5">
                  <c:v/>
                </c:pt>
                <c:pt idx="6">
                  <c:v/>
                </c:pt>
                <c:pt idx="7">
                  <c:v/>
                </c:pt>
                <c:pt idx="8">
                  <c:v/>
                </c:pt>
                <c:pt idx="9">
                  <c:v/>
                </c:pt>
                <c:pt idx="10">
                  <c:v/>
                </c:pt>
                <c:pt idx="11">
                  <c:v/>
                </c:pt>
                <c:pt idx="12">
                  <c:v/>
                </c:pt>
                <c:pt idx="13">
                  <c:v/>
                </c:pt>
              </c:strCache>
            </c:strRef>
          </c:cat>
          <c:val>
            <c:numRef>
              <c:f>Sheet1!$B$2:$B$15</c:f>
              <c:numCache>
                <c:formatCode>General</c:formatCode>
                <c:ptCount val="14"/>
                <c:pt idx="0">
                  <c:v>2480.85</c:v>
                </c:pt>
                <c:pt idx="1">
                  <c:v>1533.61</c:v>
                </c:pt>
                <c:pt idx="2">
                  <c:v>3000.15</c:v>
                </c:pt>
                <c:pt idx="3">
                  <c:v>12486.01</c:v>
                </c:pt>
                <c:pt idx="4">
                  <c:v>1589.2</c:v>
                </c:pt>
                <c:pt idx="5">
                  <c:v>3616.83</c:v>
                </c:pt>
                <c:pt idx="6">
                  <c:v>29942.36</c:v>
                </c:pt>
                <c:pt idx="7">
                  <c:v>9679.45</c:v>
                </c:pt>
                <c:pt idx="8">
                  <c:v>2070.22</c:v>
                </c:pt>
                <c:pt idx="9">
                  <c:v>5721.79</c:v>
                </c:pt>
                <c:pt idx="10">
                  <c:v>2761.16</c:v>
                </c:pt>
                <c:pt idx="11">
                  <c:v>7742.87</c:v>
                </c:pt>
                <c:pt idx="12">
                  <c:v>15748.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3</a:t>
                    </a:r>
                  </a:p>
                  <a:p>
                    <a:r>
                      <a:t>3923.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53</c:v>
                </c:pt>
                <c:pt idx="2">
                  <c:v/>
                </c:pt>
                <c:pt idx="3">
                  <c:v/>
                </c:pt>
                <c:pt idx="4">
                  <c:v/>
                </c:pt>
                <c:pt idx="5">
                  <c:v/>
                </c:pt>
                <c:pt idx="6">
                  <c:v/>
                </c:pt>
                <c:pt idx="7">
                  <c:v/>
                </c:pt>
                <c:pt idx="8">
                  <c:v/>
                </c:pt>
                <c:pt idx="9">
                  <c:v/>
                </c:pt>
                <c:pt idx="10">
                  <c:v/>
                </c:pt>
                <c:pt idx="11">
                  <c:v/>
                </c:pt>
                <c:pt idx="12">
                  <c:v/>
                </c:pt>
                <c:pt idx="13">
                  <c:v/>
                </c:pt>
              </c:strCache>
            </c:strRef>
          </c:cat>
          <c:val>
            <c:numRef>
              <c:f>Sheet1!$C$2:$C$15</c:f>
              <c:numCache>
                <c:formatCode>General</c:formatCode>
                <c:ptCount val="14"/>
                <c:pt idx="1">
                  <c:v>39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53</c:v>
                </c:pt>
                <c:pt idx="2">
                  <c:v/>
                </c:pt>
                <c:pt idx="3">
                  <c:v/>
                </c:pt>
                <c:pt idx="4">
                  <c:v/>
                </c:pt>
                <c:pt idx="5">
                  <c:v/>
                </c:pt>
                <c:pt idx="6">
                  <c:v/>
                </c:pt>
                <c:pt idx="7">
                  <c:v/>
                </c:pt>
                <c:pt idx="8">
                  <c:v/>
                </c:pt>
                <c:pt idx="9">
                  <c:v/>
                </c:pt>
                <c:pt idx="10">
                  <c:v/>
                </c:pt>
                <c:pt idx="11">
                  <c:v/>
                </c:pt>
                <c:pt idx="12">
                  <c:v/>
                </c:pt>
                <c:pt idx="13">
                  <c:v/>
                </c:pt>
              </c:strCache>
            </c:strRef>
          </c:cat>
          <c:val>
            <c:numRef>
              <c:f>Sheet1!$D$2:$D$15</c:f>
              <c:numCache>
                <c:formatCode>General</c:formatCode>
                <c:ptCount val="14"/>
                <c:pt idx="0">
                  <c:v>12358.24</c:v>
                </c:pt>
                <c:pt idx="1">
                  <c:v>7350.95</c:v>
                </c:pt>
                <c:pt idx="2">
                  <c:v>2556.52</c:v>
                </c:pt>
                <c:pt idx="3">
                  <c:v>12979.89</c:v>
                </c:pt>
                <c:pt idx="4">
                  <c:v>2673.18</c:v>
                </c:pt>
                <c:pt idx="5">
                  <c:v>3161.84</c:v>
                </c:pt>
                <c:pt idx="6">
                  <c:v>48001.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53</c:v>
                </c:pt>
                <c:pt idx="2">
                  <c:v/>
                </c:pt>
                <c:pt idx="3">
                  <c:v/>
                </c:pt>
                <c:pt idx="4">
                  <c:v/>
                </c:pt>
                <c:pt idx="5">
                  <c:v/>
                </c:pt>
                <c:pt idx="6">
                  <c:v/>
                </c:pt>
                <c:pt idx="7">
                  <c:v/>
                </c:pt>
                <c:pt idx="8">
                  <c:v/>
                </c:pt>
                <c:pt idx="9">
                  <c:v/>
                </c:pt>
                <c:pt idx="10">
                  <c:v/>
                </c:pt>
                <c:pt idx="11">
                  <c:v/>
                </c:pt>
                <c:pt idx="12">
                  <c:v/>
                </c:pt>
                <c:pt idx="13">
                  <c:v/>
                </c:pt>
              </c:strCache>
            </c:strRef>
          </c:cat>
          <c:val>
            <c:numRef>
              <c:f>Sheet1!$E$2:$E$15</c:f>
              <c:numCache>
                <c:formatCode>General</c:formatCode>
                <c:ptCount val="14"/>
                <c:pt idx="0">
                  <c:v>11707.12</c:v>
                </c:pt>
                <c:pt idx="1">
                  <c:v>7005.15</c:v>
                </c:pt>
                <c:pt idx="2">
                  <c:v>11483.51</c:v>
                </c:pt>
                <c:pt idx="3">
                  <c:v>12302.61</c:v>
                </c:pt>
                <c:pt idx="4">
                  <c:v>4265.09</c:v>
                </c:pt>
                <c:pt idx="5">
                  <c:v>6280.08</c:v>
                </c:pt>
                <c:pt idx="8">
                  <c:v>4860.4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53</c:v>
                </c:pt>
                <c:pt idx="2">
                  <c:v/>
                </c:pt>
                <c:pt idx="3">
                  <c:v/>
                </c:pt>
                <c:pt idx="4">
                  <c:v/>
                </c:pt>
                <c:pt idx="5">
                  <c:v/>
                </c:pt>
                <c:pt idx="6">
                  <c:v/>
                </c:pt>
                <c:pt idx="7">
                  <c:v/>
                </c:pt>
                <c:pt idx="8">
                  <c:v/>
                </c:pt>
                <c:pt idx="9">
                  <c:v/>
                </c:pt>
                <c:pt idx="10">
                  <c:v/>
                </c:pt>
                <c:pt idx="11">
                  <c:v/>
                </c:pt>
                <c:pt idx="12">
                  <c:v/>
                </c:pt>
                <c:pt idx="13">
                  <c:v/>
                </c:pt>
              </c:strCache>
            </c:strRef>
          </c:cat>
          <c:val>
            <c:numRef>
              <c:f>Sheet1!$F$2:$F$15</c:f>
              <c:numCache>
                <c:formatCode>General</c:formatCode>
                <c:ptCount val="14"/>
                <c:pt idx="0">
                  <c:v>8102.98</c:v>
                </c:pt>
                <c:pt idx="1">
                  <c:v>3894.74</c:v>
                </c:pt>
                <c:pt idx="2">
                  <c:v>12461.51</c:v>
                </c:pt>
                <c:pt idx="3">
                  <c:v>11876.42</c:v>
                </c:pt>
                <c:pt idx="7">
                  <c:v>8723.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8001.6299"/>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
                </c:pt>
                <c:pt idx="4">
                  <c:v/>
                </c:pt>
                <c:pt idx="5">
                  <c:v/>
                </c:pt>
                <c:pt idx="6">
                  <c:v/>
                </c:pt>
                <c:pt idx="7">
                  <c:v/>
                </c:pt>
                <c:pt idx="8">
                  <c:v/>
                </c:pt>
                <c:pt idx="9">
                  <c:v/>
                </c:pt>
                <c:pt idx="10">
                  <c:v/>
                </c:pt>
                <c:pt idx="11">
                  <c:v/>
                </c:pt>
                <c:pt idx="12">
                  <c:v/>
                </c:pt>
              </c:strCache>
            </c:strRef>
          </c:cat>
          <c:val>
            <c:numRef>
              <c:f>Sheet1!$B$2:$B$14</c:f>
              <c:numCache>
                <c:formatCode>General</c:formatCode>
                <c:ptCount val="13"/>
                <c:pt idx="0">
                  <c:v>2560.0</c:v>
                </c:pt>
                <c:pt idx="1">
                  <c:v>1552.54</c:v>
                </c:pt>
                <c:pt idx="2">
                  <c:v>2980.44</c:v>
                </c:pt>
                <c:pt idx="3">
                  <c:v>12934.49</c:v>
                </c:pt>
                <c:pt idx="4">
                  <c:v>1626.78</c:v>
                </c:pt>
                <c:pt idx="5">
                  <c:v>3753.96</c:v>
                </c:pt>
                <c:pt idx="6">
                  <c:v>34951.07</c:v>
                </c:pt>
                <c:pt idx="7">
                  <c:v>10208.26</c:v>
                </c:pt>
                <c:pt idx="8">
                  <c:v>2203.9</c:v>
                </c:pt>
                <c:pt idx="9">
                  <c:v>5866.35</c:v>
                </c:pt>
                <c:pt idx="10">
                  <c:v>2993.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a:t>
                    </a:r>
                  </a:p>
                  <a:p>
                    <a:r>
                      <a:t>1168.95</a:t>
                    </a:r>
                  </a:p>
                </c:rich>
              </c:tx>
              <c:dLblPos val="l"/>
              <c:showLegendKey val="0"/>
              <c:showVal val="1"/>
              <c:showCatName val="0"/>
              <c:showSerName val="0"/>
              <c:showPercent val="0"/>
              <c:showBubbleSize val="0"/>
            </c:dLbl>
            <c:dLbl>
              <c:idx val="1"/>
              <c:tx>
                <c:rich>
                  <a:bodyPr/>
                  <a:lstStyle/>
                  <a:p>
                    <a:r>
                      <a:t>IX 100</a:t>
                    </a:r>
                  </a:p>
                  <a:p>
                    <a:r>
                      <a:t>1253.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
                </c:pt>
                <c:pt idx="4">
                  <c:v/>
                </c:pt>
                <c:pt idx="5">
                  <c:v/>
                </c:pt>
                <c:pt idx="6">
                  <c:v/>
                </c:pt>
                <c:pt idx="7">
                  <c:v/>
                </c:pt>
                <c:pt idx="8">
                  <c:v/>
                </c:pt>
                <c:pt idx="9">
                  <c:v/>
                </c:pt>
                <c:pt idx="10">
                  <c:v/>
                </c:pt>
                <c:pt idx="11">
                  <c:v/>
                </c:pt>
                <c:pt idx="12">
                  <c:v/>
                </c:pt>
              </c:strCache>
            </c:strRef>
          </c:cat>
          <c:val>
            <c:numRef>
              <c:f>Sheet1!$C$2:$C$14</c:f>
              <c:numCache>
                <c:formatCode>General</c:formatCode>
                <c:ptCount val="13"/>
                <c:pt idx="0">
                  <c:v>1168.95</c:v>
                </c:pt>
                <c:pt idx="1">
                  <c:v>1253.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
                </c:pt>
                <c:pt idx="4">
                  <c:v/>
                </c:pt>
                <c:pt idx="5">
                  <c:v/>
                </c:pt>
                <c:pt idx="6">
                  <c:v/>
                </c:pt>
                <c:pt idx="7">
                  <c:v/>
                </c:pt>
                <c:pt idx="8">
                  <c:v/>
                </c:pt>
                <c:pt idx="9">
                  <c:v/>
                </c:pt>
                <c:pt idx="10">
                  <c:v/>
                </c:pt>
                <c:pt idx="11">
                  <c:v/>
                </c:pt>
                <c:pt idx="12">
                  <c:v/>
                </c:pt>
              </c:strCache>
            </c:strRef>
          </c:cat>
          <c:val>
            <c:numRef>
              <c:f>Sheet1!$D$2:$D$14</c:f>
              <c:numCache>
                <c:formatCode>General</c:formatCode>
                <c:ptCount val="13"/>
                <c:pt idx="0">
                  <c:v>12511.07</c:v>
                </c:pt>
                <c:pt idx="1">
                  <c:v>7530.49</c:v>
                </c:pt>
                <c:pt idx="2">
                  <c:v>2575.07</c:v>
                </c:pt>
                <c:pt idx="3">
                  <c:v>13022.58</c:v>
                </c:pt>
                <c:pt idx="4">
                  <c:v>2750.12</c:v>
                </c:pt>
                <c:pt idx="5">
                  <c:v>3184.07</c:v>
                </c:pt>
                <c:pt idx="6">
                  <c:v>51589.4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
                </c:pt>
                <c:pt idx="4">
                  <c:v/>
                </c:pt>
                <c:pt idx="5">
                  <c:v/>
                </c:pt>
                <c:pt idx="6">
                  <c:v/>
                </c:pt>
                <c:pt idx="7">
                  <c:v/>
                </c:pt>
                <c:pt idx="8">
                  <c:v/>
                </c:pt>
                <c:pt idx="9">
                  <c:v/>
                </c:pt>
                <c:pt idx="10">
                  <c:v/>
                </c:pt>
                <c:pt idx="11">
                  <c:v/>
                </c:pt>
                <c:pt idx="12">
                  <c:v/>
                </c:pt>
              </c:strCache>
            </c:strRef>
          </c:cat>
          <c:val>
            <c:numRef>
              <c:f>Sheet1!$E$2:$E$14</c:f>
              <c:numCache>
                <c:formatCode>General</c:formatCode>
                <c:ptCount val="13"/>
                <c:pt idx="0">
                  <c:v>8309.6</c:v>
                </c:pt>
                <c:pt idx="1">
                  <c:v>4032.39</c:v>
                </c:pt>
                <c:pt idx="2">
                  <c:v>12687.08</c:v>
                </c:pt>
                <c:pt idx="3">
                  <c:v>12141.98</c:v>
                </c:pt>
                <c:pt idx="7">
                  <c:v>8977.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
                </c:pt>
                <c:pt idx="4">
                  <c:v/>
                </c:pt>
                <c:pt idx="5">
                  <c:v/>
                </c:pt>
                <c:pt idx="6">
                  <c:v/>
                </c:pt>
                <c:pt idx="7">
                  <c:v/>
                </c:pt>
                <c:pt idx="8">
                  <c:v/>
                </c:pt>
                <c:pt idx="9">
                  <c:v/>
                </c:pt>
                <c:pt idx="10">
                  <c:v/>
                </c:pt>
                <c:pt idx="11">
                  <c:v/>
                </c:pt>
                <c:pt idx="12">
                  <c:v/>
                </c:pt>
              </c:strCache>
            </c:strRef>
          </c:cat>
          <c:val>
            <c:numRef>
              <c:f>Sheet1!$F$2:$F$14</c:f>
              <c:numCache>
                <c:formatCode>General</c:formatCode>
                <c:ptCount val="13"/>
                <c:pt idx="0">
                  <c:v>12254.38</c:v>
                </c:pt>
                <c:pt idx="1">
                  <c:v>7809.54</c:v>
                </c:pt>
                <c:pt idx="2">
                  <c:v>11690.66</c:v>
                </c:pt>
                <c:pt idx="3">
                  <c:v>12529.91</c:v>
                </c:pt>
                <c:pt idx="4">
                  <c:v>4690.0</c:v>
                </c:pt>
                <c:pt idx="5">
                  <c:v>6478.95</c:v>
                </c:pt>
                <c:pt idx="8">
                  <c:v>5409.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9.977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B$2:$B$2</c:f>
              <c:numCache>
                <c:formatCode>General</c:formatCode>
                <c:ptCount val="1"/>
                <c:pt idx="0">
                  <c:v>1619.4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0</a:t>
                    </a:r>
                  </a:p>
                  <a:p>
                    <a:r>
                      <a:t>1236.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C$2:$C$2</c:f>
              <c:numCache>
                <c:formatCode>General</c:formatCode>
                <c:ptCount val="1"/>
                <c:pt idx="0">
                  <c:v>123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D$2:$D$2</c:f>
              <c:numCache>
                <c:formatCode>General</c:formatCode>
                <c:ptCount val="1"/>
                <c:pt idx="0">
                  <c:v>176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Orea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E$2:$E$2</c:f>
              <c:numCache>
                <c:formatCode>General</c:formatCode>
                <c:ptCount val="1"/>
                <c:pt idx="0">
                  <c:v>666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ierre Fabr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0</c:v>
                </c:pt>
              </c:strCache>
            </c:strRef>
          </c:cat>
          <c:val>
            <c:numRef>
              <c:f>Sheet1!$F$2:$F$2</c:f>
              <c:numCache>
                <c:formatCode>General</c:formatCode>
                <c:ptCount val="1"/>
                <c:pt idx="0">
                  <c:v>6698.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99.3048"/>
          <c:min val="1236.20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IX 47</c:v>
                </c:pt>
                <c:pt idx="4">
                  <c:v>IX 100</c:v>
                </c:pt>
                <c:pt idx="5">
                  <c:v>IX 137</c:v>
                </c:pt>
                <c:pt idx="6">
                  <c:v/>
                </c:pt>
                <c:pt idx="7">
                  <c:v/>
                </c:pt>
                <c:pt idx="8">
                  <c:v>IX 11</c:v>
                </c:pt>
                <c:pt idx="9">
                  <c:v/>
                </c:pt>
                <c:pt idx="10">
                  <c:v>IX 100</c:v>
                </c:pt>
                <c:pt idx="11">
                  <c:v/>
                </c:pt>
                <c:pt idx="12">
                  <c:v/>
                </c:pt>
              </c:strCache>
            </c:strRef>
          </c:cat>
          <c:val>
            <c:numRef>
              <c:f>Sheet1!$B$2:$B$14</c:f>
              <c:numCache>
                <c:formatCode>General</c:formatCode>
                <c:ptCount val="13"/>
                <c:pt idx="0">
                  <c:v>2560.0</c:v>
                </c:pt>
                <c:pt idx="1">
                  <c:v>1552.54</c:v>
                </c:pt>
                <c:pt idx="2">
                  <c:v>2980.44</c:v>
                </c:pt>
                <c:pt idx="3">
                  <c:v>12934.49</c:v>
                </c:pt>
                <c:pt idx="4">
                  <c:v>1626.78</c:v>
                </c:pt>
                <c:pt idx="5">
                  <c:v>3753.96</c:v>
                </c:pt>
                <c:pt idx="6">
                  <c:v>34951.07</c:v>
                </c:pt>
                <c:pt idx="7">
                  <c:v>10208.26</c:v>
                </c:pt>
                <c:pt idx="8">
                  <c:v>2203.9</c:v>
                </c:pt>
                <c:pt idx="9">
                  <c:v>5866.35</c:v>
                </c:pt>
                <c:pt idx="10">
                  <c:v>2993.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a:t>
                    </a:r>
                  </a:p>
                  <a:p>
                    <a:r>
                      <a:t>1107.31</a:t>
                    </a:r>
                  </a:p>
                </c:rich>
              </c:tx>
              <c:dLblPos val="l"/>
              <c:showLegendKey val="0"/>
              <c:showVal val="1"/>
              <c:showCatName val="0"/>
              <c:showSerName val="0"/>
              <c:showPercent val="0"/>
              <c:showBubbleSize val="0"/>
            </c:dLbl>
            <c:dLbl>
              <c:idx val="1"/>
              <c:tx>
                <c:rich>
                  <a:bodyPr/>
                  <a:lstStyle/>
                  <a:p>
                    <a:r>
                      <a:t>IX 100</a:t>
                    </a:r>
                  </a:p>
                  <a:p>
                    <a:r>
                      <a:t>1296.1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7</a:t>
                    </a:r>
                  </a:p>
                  <a:p>
                    <a:r>
                      <a:t>5904.05</a:t>
                    </a:r>
                  </a:p>
                </c:rich>
              </c:tx>
              <c:dLblPos val="l"/>
              <c:showLegendKey val="0"/>
              <c:showVal val="1"/>
              <c:showCatName val="0"/>
              <c:showSerName val="0"/>
              <c:showPercent val="0"/>
              <c:showBubbleSize val="0"/>
            </c:dLbl>
            <c:dLbl>
              <c:idx val="4"/>
              <c:tx>
                <c:rich>
                  <a:bodyPr/>
                  <a:lstStyle/>
                  <a:p>
                    <a:r>
                      <a:t>IX 100</a:t>
                    </a:r>
                  </a:p>
                  <a:p>
                    <a:r>
                      <a:t>1459.64</a:t>
                    </a:r>
                  </a:p>
                </c:rich>
              </c:tx>
              <c:dLblPos val="l"/>
              <c:showLegendKey val="0"/>
              <c:showVal val="1"/>
              <c:showCatName val="0"/>
              <c:showSerName val="0"/>
              <c:showPercent val="0"/>
              <c:showBubbleSize val="0"/>
            </c:dLbl>
            <c:dLbl>
              <c:idx val="5"/>
              <c:tx>
                <c:rich>
                  <a:bodyPr/>
                  <a:lstStyle/>
                  <a:p>
                    <a:r>
                      <a:t>IX 137</a:t>
                    </a:r>
                  </a:p>
                  <a:p>
                    <a:r>
                      <a:t>4352.0</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1</a:t>
                    </a:r>
                  </a:p>
                  <a:p>
                    <a:r>
                      <a:t>604.24</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2993.2</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IX 47</c:v>
                </c:pt>
                <c:pt idx="4">
                  <c:v>IX 100</c:v>
                </c:pt>
                <c:pt idx="5">
                  <c:v>IX 137</c:v>
                </c:pt>
                <c:pt idx="6">
                  <c:v/>
                </c:pt>
                <c:pt idx="7">
                  <c:v/>
                </c:pt>
                <c:pt idx="8">
                  <c:v>IX 11</c:v>
                </c:pt>
                <c:pt idx="9">
                  <c:v/>
                </c:pt>
                <c:pt idx="10">
                  <c:v>IX 100</c:v>
                </c:pt>
                <c:pt idx="11">
                  <c:v/>
                </c:pt>
                <c:pt idx="12">
                  <c:v/>
                </c:pt>
              </c:strCache>
            </c:strRef>
          </c:cat>
          <c:val>
            <c:numRef>
              <c:f>Sheet1!$C$2:$C$14</c:f>
              <c:numCache>
                <c:formatCode>General</c:formatCode>
                <c:ptCount val="13"/>
                <c:pt idx="0">
                  <c:v>1107.31</c:v>
                </c:pt>
                <c:pt idx="1">
                  <c:v>1296.19</c:v>
                </c:pt>
                <c:pt idx="3">
                  <c:v>5904.05</c:v>
                </c:pt>
                <c:pt idx="4">
                  <c:v>1459.64</c:v>
                </c:pt>
                <c:pt idx="5">
                  <c:v>4352.0</c:v>
                </c:pt>
                <c:pt idx="8">
                  <c:v>604.24</c:v>
                </c:pt>
                <c:pt idx="10">
                  <c:v>299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IX 47</c:v>
                </c:pt>
                <c:pt idx="4">
                  <c:v>IX 100</c:v>
                </c:pt>
                <c:pt idx="5">
                  <c:v>IX 137</c:v>
                </c:pt>
                <c:pt idx="6">
                  <c:v/>
                </c:pt>
                <c:pt idx="7">
                  <c:v/>
                </c:pt>
                <c:pt idx="8">
                  <c:v>IX 11</c:v>
                </c:pt>
                <c:pt idx="9">
                  <c:v/>
                </c:pt>
                <c:pt idx="10">
                  <c:v>IX 100</c:v>
                </c:pt>
                <c:pt idx="11">
                  <c:v/>
                </c:pt>
                <c:pt idx="12">
                  <c:v/>
                </c:pt>
              </c:strCache>
            </c:strRef>
          </c:cat>
          <c:val>
            <c:numRef>
              <c:f>Sheet1!$D$2:$D$14</c:f>
              <c:numCache>
                <c:formatCode>General</c:formatCode>
                <c:ptCount val="13"/>
                <c:pt idx="0">
                  <c:v>12511.07</c:v>
                </c:pt>
                <c:pt idx="1">
                  <c:v>7530.49</c:v>
                </c:pt>
                <c:pt idx="2">
                  <c:v>2575.07</c:v>
                </c:pt>
                <c:pt idx="3">
                  <c:v>13022.58</c:v>
                </c:pt>
                <c:pt idx="4">
                  <c:v>2750.12</c:v>
                </c:pt>
                <c:pt idx="5">
                  <c:v>3184.07</c:v>
                </c:pt>
                <c:pt idx="6">
                  <c:v>51589.4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IX 47</c:v>
                </c:pt>
                <c:pt idx="4">
                  <c:v>IX 100</c:v>
                </c:pt>
                <c:pt idx="5">
                  <c:v>IX 137</c:v>
                </c:pt>
                <c:pt idx="6">
                  <c:v/>
                </c:pt>
                <c:pt idx="7">
                  <c:v/>
                </c:pt>
                <c:pt idx="8">
                  <c:v>IX 11</c:v>
                </c:pt>
                <c:pt idx="9">
                  <c:v/>
                </c:pt>
                <c:pt idx="10">
                  <c:v>IX 100</c:v>
                </c:pt>
                <c:pt idx="11">
                  <c:v/>
                </c:pt>
                <c:pt idx="12">
                  <c:v/>
                </c:pt>
              </c:strCache>
            </c:strRef>
          </c:cat>
          <c:val>
            <c:numRef>
              <c:f>Sheet1!$E$2:$E$14</c:f>
              <c:numCache>
                <c:formatCode>General</c:formatCode>
                <c:ptCount val="13"/>
                <c:pt idx="0">
                  <c:v>8309.6</c:v>
                </c:pt>
                <c:pt idx="1">
                  <c:v>4032.39</c:v>
                </c:pt>
                <c:pt idx="2">
                  <c:v>12687.08</c:v>
                </c:pt>
                <c:pt idx="3">
                  <c:v>12141.98</c:v>
                </c:pt>
                <c:pt idx="7">
                  <c:v>8977.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9</c:v>
                </c:pt>
                <c:pt idx="1">
                  <c:v>IX 100</c:v>
                </c:pt>
                <c:pt idx="2">
                  <c:v/>
                </c:pt>
                <c:pt idx="3">
                  <c:v>IX 47</c:v>
                </c:pt>
                <c:pt idx="4">
                  <c:v>IX 100</c:v>
                </c:pt>
                <c:pt idx="5">
                  <c:v>IX 137</c:v>
                </c:pt>
                <c:pt idx="6">
                  <c:v/>
                </c:pt>
                <c:pt idx="7">
                  <c:v/>
                </c:pt>
                <c:pt idx="8">
                  <c:v>IX 11</c:v>
                </c:pt>
                <c:pt idx="9">
                  <c:v/>
                </c:pt>
                <c:pt idx="10">
                  <c:v>IX 100</c:v>
                </c:pt>
                <c:pt idx="11">
                  <c:v/>
                </c:pt>
                <c:pt idx="12">
                  <c:v/>
                </c:pt>
              </c:strCache>
            </c:strRef>
          </c:cat>
          <c:val>
            <c:numRef>
              <c:f>Sheet1!$F$2:$F$14</c:f>
              <c:numCache>
                <c:formatCode>General</c:formatCode>
                <c:ptCount val="13"/>
                <c:pt idx="0">
                  <c:v>12254.38</c:v>
                </c:pt>
                <c:pt idx="1">
                  <c:v>7809.54</c:v>
                </c:pt>
                <c:pt idx="2">
                  <c:v>11690.66</c:v>
                </c:pt>
                <c:pt idx="3">
                  <c:v>12529.91</c:v>
                </c:pt>
                <c:pt idx="4">
                  <c:v>4690.0</c:v>
                </c:pt>
                <c:pt idx="5">
                  <c:v>6478.95</c:v>
                </c:pt>
                <c:pt idx="8">
                  <c:v>5409.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9.977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55</c:v>
                </c:pt>
                <c:pt idx="2">
                  <c:v/>
                </c:pt>
                <c:pt idx="3">
                  <c:v/>
                </c:pt>
                <c:pt idx="4">
                  <c:v/>
                </c:pt>
                <c:pt idx="5">
                  <c:v/>
                </c:pt>
                <c:pt idx="6">
                  <c:v/>
                </c:pt>
                <c:pt idx="7">
                  <c:v/>
                </c:pt>
                <c:pt idx="8">
                  <c:v/>
                </c:pt>
                <c:pt idx="9">
                  <c:v/>
                </c:pt>
                <c:pt idx="10">
                  <c:v/>
                </c:pt>
                <c:pt idx="11">
                  <c:v/>
                </c:pt>
                <c:pt idx="12">
                  <c:v/>
                </c:pt>
              </c:strCache>
            </c:strRef>
          </c:cat>
          <c:val>
            <c:numRef>
              <c:f>Sheet1!$B$2:$B$14</c:f>
              <c:numCache>
                <c:formatCode>General</c:formatCode>
                <c:ptCount val="13"/>
                <c:pt idx="0">
                  <c:v>2560.0</c:v>
                </c:pt>
                <c:pt idx="1">
                  <c:v>1552.54</c:v>
                </c:pt>
                <c:pt idx="2">
                  <c:v>2980.44</c:v>
                </c:pt>
                <c:pt idx="3">
                  <c:v>12934.49</c:v>
                </c:pt>
                <c:pt idx="4">
                  <c:v>1626.78</c:v>
                </c:pt>
                <c:pt idx="5">
                  <c:v>3753.96</c:v>
                </c:pt>
                <c:pt idx="6">
                  <c:v>34951.07</c:v>
                </c:pt>
                <c:pt idx="7">
                  <c:v>10208.26</c:v>
                </c:pt>
                <c:pt idx="8">
                  <c:v>2203.9</c:v>
                </c:pt>
                <c:pt idx="9">
                  <c:v>5866.35</c:v>
                </c:pt>
                <c:pt idx="10">
                  <c:v>2993.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5</a:t>
                    </a:r>
                  </a:p>
                  <a:p>
                    <a:r>
                      <a:t>4126.1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55</c:v>
                </c:pt>
                <c:pt idx="2">
                  <c:v/>
                </c:pt>
                <c:pt idx="3">
                  <c:v/>
                </c:pt>
                <c:pt idx="4">
                  <c:v/>
                </c:pt>
                <c:pt idx="5">
                  <c:v/>
                </c:pt>
                <c:pt idx="6">
                  <c:v/>
                </c:pt>
                <c:pt idx="7">
                  <c:v/>
                </c:pt>
                <c:pt idx="8">
                  <c:v/>
                </c:pt>
                <c:pt idx="9">
                  <c:v/>
                </c:pt>
                <c:pt idx="10">
                  <c:v/>
                </c:pt>
                <c:pt idx="11">
                  <c:v/>
                </c:pt>
                <c:pt idx="12">
                  <c:v/>
                </c:pt>
              </c:strCache>
            </c:strRef>
          </c:cat>
          <c:val>
            <c:numRef>
              <c:f>Sheet1!$C$2:$C$14</c:f>
              <c:numCache>
                <c:formatCode>General</c:formatCode>
                <c:ptCount val="13"/>
                <c:pt idx="1">
                  <c:v>4126.1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55</c:v>
                </c:pt>
                <c:pt idx="2">
                  <c:v/>
                </c:pt>
                <c:pt idx="3">
                  <c:v/>
                </c:pt>
                <c:pt idx="4">
                  <c:v/>
                </c:pt>
                <c:pt idx="5">
                  <c:v/>
                </c:pt>
                <c:pt idx="6">
                  <c:v/>
                </c:pt>
                <c:pt idx="7">
                  <c:v/>
                </c:pt>
                <c:pt idx="8">
                  <c:v/>
                </c:pt>
                <c:pt idx="9">
                  <c:v/>
                </c:pt>
                <c:pt idx="10">
                  <c:v/>
                </c:pt>
                <c:pt idx="11">
                  <c:v/>
                </c:pt>
                <c:pt idx="12">
                  <c:v/>
                </c:pt>
              </c:strCache>
            </c:strRef>
          </c:cat>
          <c:val>
            <c:numRef>
              <c:f>Sheet1!$D$2:$D$14</c:f>
              <c:numCache>
                <c:formatCode>General</c:formatCode>
                <c:ptCount val="13"/>
                <c:pt idx="0">
                  <c:v>12511.07</c:v>
                </c:pt>
                <c:pt idx="1">
                  <c:v>7530.49</c:v>
                </c:pt>
                <c:pt idx="2">
                  <c:v>2575.07</c:v>
                </c:pt>
                <c:pt idx="3">
                  <c:v>13022.58</c:v>
                </c:pt>
                <c:pt idx="4">
                  <c:v>2750.12</c:v>
                </c:pt>
                <c:pt idx="5">
                  <c:v>3184.07</c:v>
                </c:pt>
                <c:pt idx="6">
                  <c:v>51589.4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55</c:v>
                </c:pt>
                <c:pt idx="2">
                  <c:v/>
                </c:pt>
                <c:pt idx="3">
                  <c:v/>
                </c:pt>
                <c:pt idx="4">
                  <c:v/>
                </c:pt>
                <c:pt idx="5">
                  <c:v/>
                </c:pt>
                <c:pt idx="6">
                  <c:v/>
                </c:pt>
                <c:pt idx="7">
                  <c:v/>
                </c:pt>
                <c:pt idx="8">
                  <c:v/>
                </c:pt>
                <c:pt idx="9">
                  <c:v/>
                </c:pt>
                <c:pt idx="10">
                  <c:v/>
                </c:pt>
                <c:pt idx="11">
                  <c:v/>
                </c:pt>
                <c:pt idx="12">
                  <c:v/>
                </c:pt>
              </c:strCache>
            </c:strRef>
          </c:cat>
          <c:val>
            <c:numRef>
              <c:f>Sheet1!$E$2:$E$14</c:f>
              <c:numCache>
                <c:formatCode>General</c:formatCode>
                <c:ptCount val="13"/>
                <c:pt idx="0">
                  <c:v>8309.6</c:v>
                </c:pt>
                <c:pt idx="1">
                  <c:v>4032.39</c:v>
                </c:pt>
                <c:pt idx="2">
                  <c:v>12687.08</c:v>
                </c:pt>
                <c:pt idx="3">
                  <c:v>12141.98</c:v>
                </c:pt>
                <c:pt idx="7">
                  <c:v>8977.9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55</c:v>
                </c:pt>
                <c:pt idx="2">
                  <c:v/>
                </c:pt>
                <c:pt idx="3">
                  <c:v/>
                </c:pt>
                <c:pt idx="4">
                  <c:v/>
                </c:pt>
                <c:pt idx="5">
                  <c:v/>
                </c:pt>
                <c:pt idx="6">
                  <c:v/>
                </c:pt>
                <c:pt idx="7">
                  <c:v/>
                </c:pt>
                <c:pt idx="8">
                  <c:v/>
                </c:pt>
                <c:pt idx="9">
                  <c:v/>
                </c:pt>
                <c:pt idx="10">
                  <c:v/>
                </c:pt>
                <c:pt idx="11">
                  <c:v/>
                </c:pt>
                <c:pt idx="12">
                  <c:v/>
                </c:pt>
              </c:strCache>
            </c:strRef>
          </c:cat>
          <c:val>
            <c:numRef>
              <c:f>Sheet1!$F$2:$F$14</c:f>
              <c:numCache>
                <c:formatCode>General</c:formatCode>
                <c:ptCount val="13"/>
                <c:pt idx="0">
                  <c:v>12254.38</c:v>
                </c:pt>
                <c:pt idx="1">
                  <c:v>7809.54</c:v>
                </c:pt>
                <c:pt idx="2">
                  <c:v>11690.66</c:v>
                </c:pt>
                <c:pt idx="3">
                  <c:v>12529.91</c:v>
                </c:pt>
                <c:pt idx="4">
                  <c:v>4690.0</c:v>
                </c:pt>
                <c:pt idx="5">
                  <c:v>6478.95</c:v>
                </c:pt>
                <c:pt idx="8">
                  <c:v>5409.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589.977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9</c:v>
                </c:pt>
                <c:pt idx="1">
                  <c:v/>
                </c:pt>
                <c:pt idx="2">
                  <c:v/>
                </c:pt>
                <c:pt idx="3">
                  <c:v>IX 100</c:v>
                </c:pt>
                <c:pt idx="4">
                  <c:v/>
                </c:pt>
                <c:pt idx="5">
                  <c:v/>
                </c:pt>
                <c:pt idx="6">
                  <c:v/>
                </c:pt>
                <c:pt idx="7">
                  <c:v/>
                </c:pt>
                <c:pt idx="8">
                  <c:v/>
                </c:pt>
                <c:pt idx="9">
                  <c:v/>
                </c:pt>
                <c:pt idx="10">
                  <c:v/>
                </c:pt>
                <c:pt idx="11">
                  <c:v/>
                </c:pt>
              </c:strCache>
            </c:strRef>
          </c:cat>
          <c:val>
            <c:numRef>
              <c:f>Sheet1!$B$2:$B$13</c:f>
              <c:numCache>
                <c:formatCode>General</c:formatCode>
                <c:ptCount val="12"/>
                <c:pt idx="0">
                  <c:v>4768.93</c:v>
                </c:pt>
                <c:pt idx="1">
                  <c:v>13698.91</c:v>
                </c:pt>
                <c:pt idx="2">
                  <c:v>4428.47</c:v>
                </c:pt>
                <c:pt idx="3">
                  <c:v>1990.74</c:v>
                </c:pt>
                <c:pt idx="4">
                  <c:v>4403.47</c:v>
                </c:pt>
                <c:pt idx="5">
                  <c:v>38518.41</c:v>
                </c:pt>
                <c:pt idx="6">
                  <c:v>2041.46</c:v>
                </c:pt>
                <c:pt idx="7">
                  <c:v>10908.83</c:v>
                </c:pt>
                <c:pt idx="8">
                  <c:v>3034.86</c:v>
                </c:pt>
                <c:pt idx="9">
                  <c:v>7578.0</c:v>
                </c:pt>
                <c:pt idx="10">
                  <c:v>5965.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a:t>
                    </a:r>
                  </a:p>
                  <a:p>
                    <a:r>
                      <a:t>1198.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321.5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9</c:v>
                </c:pt>
                <c:pt idx="1">
                  <c:v/>
                </c:pt>
                <c:pt idx="2">
                  <c:v/>
                </c:pt>
                <c:pt idx="3">
                  <c:v>IX 100</c:v>
                </c:pt>
                <c:pt idx="4">
                  <c:v/>
                </c:pt>
                <c:pt idx="5">
                  <c:v/>
                </c:pt>
                <c:pt idx="6">
                  <c:v/>
                </c:pt>
                <c:pt idx="7">
                  <c:v/>
                </c:pt>
                <c:pt idx="8">
                  <c:v/>
                </c:pt>
                <c:pt idx="9">
                  <c:v/>
                </c:pt>
                <c:pt idx="10">
                  <c:v/>
                </c:pt>
                <c:pt idx="11">
                  <c:v/>
                </c:pt>
              </c:strCache>
            </c:strRef>
          </c:cat>
          <c:val>
            <c:numRef>
              <c:f>Sheet1!$C$2:$C$13</c:f>
              <c:numCache>
                <c:formatCode>General</c:formatCode>
                <c:ptCount val="12"/>
                <c:pt idx="0">
                  <c:v>1198.27</c:v>
                </c:pt>
                <c:pt idx="3">
                  <c:v>1321.5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9</c:v>
                </c:pt>
                <c:pt idx="1">
                  <c:v/>
                </c:pt>
                <c:pt idx="2">
                  <c:v/>
                </c:pt>
                <c:pt idx="3">
                  <c:v>IX 100</c:v>
                </c:pt>
                <c:pt idx="4">
                  <c:v/>
                </c:pt>
                <c:pt idx="5">
                  <c:v/>
                </c:pt>
                <c:pt idx="6">
                  <c:v/>
                </c:pt>
                <c:pt idx="7">
                  <c:v/>
                </c:pt>
                <c:pt idx="8">
                  <c:v/>
                </c:pt>
                <c:pt idx="9">
                  <c:v/>
                </c:pt>
                <c:pt idx="10">
                  <c:v/>
                </c:pt>
                <c:pt idx="11">
                  <c:v/>
                </c:pt>
              </c:strCache>
            </c:strRef>
          </c:cat>
          <c:val>
            <c:numRef>
              <c:f>Sheet1!$D$2:$D$13</c:f>
              <c:numCache>
                <c:formatCode>General</c:formatCode>
                <c:ptCount val="12"/>
                <c:pt idx="0">
                  <c:v>12652.21</c:v>
                </c:pt>
                <c:pt idx="1">
                  <c:v>13336.99</c:v>
                </c:pt>
                <c:pt idx="2">
                  <c:v>2602.64</c:v>
                </c:pt>
                <c:pt idx="3">
                  <c:v>7712.97</c:v>
                </c:pt>
                <c:pt idx="4">
                  <c:v>3248.4</c:v>
                </c:pt>
                <c:pt idx="5">
                  <c:v>52272.41</c:v>
                </c:pt>
                <c:pt idx="6">
                  <c:v>278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9</c:v>
                </c:pt>
                <c:pt idx="1">
                  <c:v/>
                </c:pt>
                <c:pt idx="2">
                  <c:v/>
                </c:pt>
                <c:pt idx="3">
                  <c:v>IX 100</c:v>
                </c:pt>
                <c:pt idx="4">
                  <c:v/>
                </c:pt>
                <c:pt idx="5">
                  <c:v/>
                </c:pt>
                <c:pt idx="6">
                  <c:v/>
                </c:pt>
                <c:pt idx="7">
                  <c:v/>
                </c:pt>
                <c:pt idx="8">
                  <c:v/>
                </c:pt>
                <c:pt idx="9">
                  <c:v/>
                </c:pt>
                <c:pt idx="10">
                  <c:v/>
                </c:pt>
                <c:pt idx="11">
                  <c:v/>
                </c:pt>
              </c:strCache>
            </c:strRef>
          </c:cat>
          <c:val>
            <c:numRef>
              <c:f>Sheet1!$E$2:$E$13</c:f>
              <c:numCache>
                <c:formatCode>General</c:formatCode>
                <c:ptCount val="12"/>
                <c:pt idx="0">
                  <c:v>12589.97</c:v>
                </c:pt>
                <c:pt idx="1">
                  <c:v>12718.69</c:v>
                </c:pt>
                <c:pt idx="2">
                  <c:v>11741.4</c:v>
                </c:pt>
                <c:pt idx="3">
                  <c:v>8378.02</c:v>
                </c:pt>
                <c:pt idx="4">
                  <c:v>6688.99</c:v>
                </c:pt>
                <c:pt idx="6">
                  <c:v>4909.51</c:v>
                </c:pt>
                <c:pt idx="8">
                  <c:v>5622.4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9</c:v>
                </c:pt>
                <c:pt idx="1">
                  <c:v/>
                </c:pt>
                <c:pt idx="2">
                  <c:v/>
                </c:pt>
                <c:pt idx="3">
                  <c:v>IX 100</c:v>
                </c:pt>
                <c:pt idx="4">
                  <c:v/>
                </c:pt>
                <c:pt idx="5">
                  <c:v/>
                </c:pt>
                <c:pt idx="6">
                  <c:v/>
                </c:pt>
                <c:pt idx="7">
                  <c:v/>
                </c:pt>
                <c:pt idx="8">
                  <c:v/>
                </c:pt>
                <c:pt idx="9">
                  <c:v/>
                </c:pt>
                <c:pt idx="10">
                  <c:v/>
                </c:pt>
                <c:pt idx="11">
                  <c:v/>
                </c:pt>
              </c:strCache>
            </c:strRef>
          </c:cat>
          <c:val>
            <c:numRef>
              <c:f>Sheet1!$F$2:$F$13</c:f>
              <c:numCache>
                <c:formatCode>General</c:formatCode>
                <c:ptCount val="12"/>
                <c:pt idx="0">
                  <c:v>8494.21</c:v>
                </c:pt>
                <c:pt idx="1">
                  <c:v>12630.24</c:v>
                </c:pt>
                <c:pt idx="2">
                  <c:v>13017.66</c:v>
                </c:pt>
                <c:pt idx="3">
                  <c:v>4420.91</c:v>
                </c:pt>
                <c:pt idx="7">
                  <c:v>9642.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72.912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5</c:v>
                </c:pt>
                <c:pt idx="5">
                  <c:v/>
                </c:pt>
                <c:pt idx="6">
                  <c:v>IX 100</c:v>
                </c:pt>
                <c:pt idx="7">
                  <c:v/>
                </c:pt>
                <c:pt idx="8">
                  <c:v/>
                </c:pt>
                <c:pt idx="9">
                  <c:v/>
                </c:pt>
                <c:pt idx="10">
                  <c:v>IX 100</c:v>
                </c:pt>
                <c:pt idx="11">
                  <c:v/>
                </c:pt>
              </c:strCache>
            </c:strRef>
          </c:cat>
          <c:val>
            <c:numRef>
              <c:f>Sheet1!$B$2:$B$13</c:f>
              <c:numCache>
                <c:formatCode>General</c:formatCode>
                <c:ptCount val="12"/>
                <c:pt idx="0">
                  <c:v>4768.93</c:v>
                </c:pt>
                <c:pt idx="1">
                  <c:v>13698.91</c:v>
                </c:pt>
                <c:pt idx="2">
                  <c:v>4428.47</c:v>
                </c:pt>
                <c:pt idx="3">
                  <c:v>1990.74</c:v>
                </c:pt>
                <c:pt idx="4">
                  <c:v>4403.47</c:v>
                </c:pt>
                <c:pt idx="5">
                  <c:v>38518.41</c:v>
                </c:pt>
                <c:pt idx="6">
                  <c:v>2041.46</c:v>
                </c:pt>
                <c:pt idx="7">
                  <c:v>10908.83</c:v>
                </c:pt>
                <c:pt idx="8">
                  <c:v>3034.86</c:v>
                </c:pt>
                <c:pt idx="9">
                  <c:v>7578.0</c:v>
                </c:pt>
                <c:pt idx="10">
                  <c:v>5965.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a:t>
                    </a:r>
                  </a:p>
                  <a:p>
                    <a:r>
                      <a:t>1282.77</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399.69</a:t>
                    </a:r>
                  </a:p>
                </c:rich>
              </c:tx>
              <c:dLblPos val="l"/>
              <c:showLegendKey val="0"/>
              <c:showVal val="1"/>
              <c:showCatName val="0"/>
              <c:showSerName val="0"/>
              <c:showPercent val="0"/>
              <c:showBubbleSize val="0"/>
            </c:dLbl>
            <c:dLbl>
              <c:idx val="4"/>
              <c:tx>
                <c:rich>
                  <a:bodyPr/>
                  <a:lstStyle/>
                  <a:p>
                    <a:r>
                      <a:t>IX 65</a:t>
                    </a:r>
                  </a:p>
                  <a:p>
                    <a:r>
                      <a:t>4352.0</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660.89</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5965.05</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5</c:v>
                </c:pt>
                <c:pt idx="5">
                  <c:v/>
                </c:pt>
                <c:pt idx="6">
                  <c:v>IX 100</c:v>
                </c:pt>
                <c:pt idx="7">
                  <c:v/>
                </c:pt>
                <c:pt idx="8">
                  <c:v/>
                </c:pt>
                <c:pt idx="9">
                  <c:v/>
                </c:pt>
                <c:pt idx="10">
                  <c:v>IX 100</c:v>
                </c:pt>
                <c:pt idx="11">
                  <c:v/>
                </c:pt>
              </c:strCache>
            </c:strRef>
          </c:cat>
          <c:val>
            <c:numRef>
              <c:f>Sheet1!$C$2:$C$13</c:f>
              <c:numCache>
                <c:formatCode>General</c:formatCode>
                <c:ptCount val="12"/>
                <c:pt idx="0">
                  <c:v>1282.77</c:v>
                </c:pt>
                <c:pt idx="3">
                  <c:v>1399.69</c:v>
                </c:pt>
                <c:pt idx="4">
                  <c:v>4352.0</c:v>
                </c:pt>
                <c:pt idx="6">
                  <c:v>1660.89</c:v>
                </c:pt>
                <c:pt idx="10">
                  <c:v>5965.0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5</c:v>
                </c:pt>
                <c:pt idx="5">
                  <c:v/>
                </c:pt>
                <c:pt idx="6">
                  <c:v>IX 100</c:v>
                </c:pt>
                <c:pt idx="7">
                  <c:v/>
                </c:pt>
                <c:pt idx="8">
                  <c:v/>
                </c:pt>
                <c:pt idx="9">
                  <c:v/>
                </c:pt>
                <c:pt idx="10">
                  <c:v>IX 100</c:v>
                </c:pt>
                <c:pt idx="11">
                  <c:v/>
                </c:pt>
              </c:strCache>
            </c:strRef>
          </c:cat>
          <c:val>
            <c:numRef>
              <c:f>Sheet1!$D$2:$D$13</c:f>
              <c:numCache>
                <c:formatCode>General</c:formatCode>
                <c:ptCount val="12"/>
                <c:pt idx="0">
                  <c:v>12652.21</c:v>
                </c:pt>
                <c:pt idx="1">
                  <c:v>13336.99</c:v>
                </c:pt>
                <c:pt idx="2">
                  <c:v>2602.64</c:v>
                </c:pt>
                <c:pt idx="3">
                  <c:v>7712.97</c:v>
                </c:pt>
                <c:pt idx="4">
                  <c:v>3248.4</c:v>
                </c:pt>
                <c:pt idx="5">
                  <c:v>52272.41</c:v>
                </c:pt>
                <c:pt idx="6">
                  <c:v>278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5</c:v>
                </c:pt>
                <c:pt idx="5">
                  <c:v/>
                </c:pt>
                <c:pt idx="6">
                  <c:v>IX 100</c:v>
                </c:pt>
                <c:pt idx="7">
                  <c:v/>
                </c:pt>
                <c:pt idx="8">
                  <c:v/>
                </c:pt>
                <c:pt idx="9">
                  <c:v/>
                </c:pt>
                <c:pt idx="10">
                  <c:v>IX 100</c:v>
                </c:pt>
                <c:pt idx="11">
                  <c:v/>
                </c:pt>
              </c:strCache>
            </c:strRef>
          </c:cat>
          <c:val>
            <c:numRef>
              <c:f>Sheet1!$E$2:$E$13</c:f>
              <c:numCache>
                <c:formatCode>General</c:formatCode>
                <c:ptCount val="12"/>
                <c:pt idx="0">
                  <c:v>12589.97</c:v>
                </c:pt>
                <c:pt idx="1">
                  <c:v>12718.69</c:v>
                </c:pt>
                <c:pt idx="2">
                  <c:v>11741.4</c:v>
                </c:pt>
                <c:pt idx="3">
                  <c:v>8378.02</c:v>
                </c:pt>
                <c:pt idx="4">
                  <c:v>6688.99</c:v>
                </c:pt>
                <c:pt idx="6">
                  <c:v>4909.51</c:v>
                </c:pt>
                <c:pt idx="8">
                  <c:v>5622.4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IX 0</c:v>
                </c:pt>
                <c:pt idx="2">
                  <c:v/>
                </c:pt>
                <c:pt idx="3">
                  <c:v>IX 100</c:v>
                </c:pt>
                <c:pt idx="4">
                  <c:v>IX 65</c:v>
                </c:pt>
                <c:pt idx="5">
                  <c:v/>
                </c:pt>
                <c:pt idx="6">
                  <c:v>IX 100</c:v>
                </c:pt>
                <c:pt idx="7">
                  <c:v/>
                </c:pt>
                <c:pt idx="8">
                  <c:v/>
                </c:pt>
                <c:pt idx="9">
                  <c:v/>
                </c:pt>
                <c:pt idx="10">
                  <c:v>IX 100</c:v>
                </c:pt>
                <c:pt idx="11">
                  <c:v/>
                </c:pt>
              </c:strCache>
            </c:strRef>
          </c:cat>
          <c:val>
            <c:numRef>
              <c:f>Sheet1!$F$2:$F$13</c:f>
              <c:numCache>
                <c:formatCode>General</c:formatCode>
                <c:ptCount val="12"/>
                <c:pt idx="0">
                  <c:v>8494.21</c:v>
                </c:pt>
                <c:pt idx="1">
                  <c:v>12630.24</c:v>
                </c:pt>
                <c:pt idx="2">
                  <c:v>13017.66</c:v>
                </c:pt>
                <c:pt idx="3">
                  <c:v>4420.91</c:v>
                </c:pt>
                <c:pt idx="7">
                  <c:v>9642.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72.912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149</c:v>
                </c:pt>
                <c:pt idx="4">
                  <c:v/>
                </c:pt>
                <c:pt idx="5">
                  <c:v/>
                </c:pt>
                <c:pt idx="6">
                  <c:v/>
                </c:pt>
                <c:pt idx="7">
                  <c:v/>
                </c:pt>
                <c:pt idx="8">
                  <c:v/>
                </c:pt>
                <c:pt idx="9">
                  <c:v/>
                </c:pt>
                <c:pt idx="10">
                  <c:v/>
                </c:pt>
                <c:pt idx="11">
                  <c:v/>
                </c:pt>
              </c:strCache>
            </c:strRef>
          </c:cat>
          <c:val>
            <c:numRef>
              <c:f>Sheet1!$B$2:$B$13</c:f>
              <c:numCache>
                <c:formatCode>General</c:formatCode>
                <c:ptCount val="12"/>
                <c:pt idx="0">
                  <c:v>4768.93</c:v>
                </c:pt>
                <c:pt idx="1">
                  <c:v>13698.91</c:v>
                </c:pt>
                <c:pt idx="2">
                  <c:v>4428.47</c:v>
                </c:pt>
                <c:pt idx="3">
                  <c:v>1990.74</c:v>
                </c:pt>
                <c:pt idx="4">
                  <c:v>4403.47</c:v>
                </c:pt>
                <c:pt idx="5">
                  <c:v>38518.41</c:v>
                </c:pt>
                <c:pt idx="6">
                  <c:v>2041.46</c:v>
                </c:pt>
                <c:pt idx="7">
                  <c:v>10908.83</c:v>
                </c:pt>
                <c:pt idx="8">
                  <c:v>3034.86</c:v>
                </c:pt>
                <c:pt idx="9">
                  <c:v>7578.0</c:v>
                </c:pt>
                <c:pt idx="10">
                  <c:v>5965.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49</a:t>
                    </a:r>
                  </a:p>
                  <a:p>
                    <a:r>
                      <a:t>11522.4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149</c:v>
                </c:pt>
                <c:pt idx="4">
                  <c:v/>
                </c:pt>
                <c:pt idx="5">
                  <c:v/>
                </c:pt>
                <c:pt idx="6">
                  <c:v/>
                </c:pt>
                <c:pt idx="7">
                  <c:v/>
                </c:pt>
                <c:pt idx="8">
                  <c:v/>
                </c:pt>
                <c:pt idx="9">
                  <c:v/>
                </c:pt>
                <c:pt idx="10">
                  <c:v/>
                </c:pt>
                <c:pt idx="11">
                  <c:v/>
                </c:pt>
              </c:strCache>
            </c:strRef>
          </c:cat>
          <c:val>
            <c:numRef>
              <c:f>Sheet1!$C$2:$C$13</c:f>
              <c:numCache>
                <c:formatCode>General</c:formatCode>
                <c:ptCount val="12"/>
                <c:pt idx="3">
                  <c:v>11522.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149</c:v>
                </c:pt>
                <c:pt idx="4">
                  <c:v/>
                </c:pt>
                <c:pt idx="5">
                  <c:v/>
                </c:pt>
                <c:pt idx="6">
                  <c:v/>
                </c:pt>
                <c:pt idx="7">
                  <c:v/>
                </c:pt>
                <c:pt idx="8">
                  <c:v/>
                </c:pt>
                <c:pt idx="9">
                  <c:v/>
                </c:pt>
                <c:pt idx="10">
                  <c:v/>
                </c:pt>
                <c:pt idx="11">
                  <c:v/>
                </c:pt>
              </c:strCache>
            </c:strRef>
          </c:cat>
          <c:val>
            <c:numRef>
              <c:f>Sheet1!$D$2:$D$13</c:f>
              <c:numCache>
                <c:formatCode>General</c:formatCode>
                <c:ptCount val="12"/>
                <c:pt idx="0">
                  <c:v>12652.21</c:v>
                </c:pt>
                <c:pt idx="1">
                  <c:v>13336.99</c:v>
                </c:pt>
                <c:pt idx="2">
                  <c:v>2602.64</c:v>
                </c:pt>
                <c:pt idx="3">
                  <c:v>7712.97</c:v>
                </c:pt>
                <c:pt idx="4">
                  <c:v>3248.4</c:v>
                </c:pt>
                <c:pt idx="5">
                  <c:v>52272.41</c:v>
                </c:pt>
                <c:pt idx="6">
                  <c:v>2782.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149</c:v>
                </c:pt>
                <c:pt idx="4">
                  <c:v/>
                </c:pt>
                <c:pt idx="5">
                  <c:v/>
                </c:pt>
                <c:pt idx="6">
                  <c:v/>
                </c:pt>
                <c:pt idx="7">
                  <c:v/>
                </c:pt>
                <c:pt idx="8">
                  <c:v/>
                </c:pt>
                <c:pt idx="9">
                  <c:v/>
                </c:pt>
                <c:pt idx="10">
                  <c:v/>
                </c:pt>
                <c:pt idx="11">
                  <c:v/>
                </c:pt>
              </c:strCache>
            </c:strRef>
          </c:cat>
          <c:val>
            <c:numRef>
              <c:f>Sheet1!$E$2:$E$13</c:f>
              <c:numCache>
                <c:formatCode>General</c:formatCode>
                <c:ptCount val="12"/>
                <c:pt idx="0">
                  <c:v>12589.97</c:v>
                </c:pt>
                <c:pt idx="1">
                  <c:v>12718.69</c:v>
                </c:pt>
                <c:pt idx="2">
                  <c:v>11741.4</c:v>
                </c:pt>
                <c:pt idx="3">
                  <c:v>8378.02</c:v>
                </c:pt>
                <c:pt idx="4">
                  <c:v>6688.99</c:v>
                </c:pt>
                <c:pt idx="6">
                  <c:v>4909.51</c:v>
                </c:pt>
                <c:pt idx="8">
                  <c:v>5622.4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149</c:v>
                </c:pt>
                <c:pt idx="4">
                  <c:v/>
                </c:pt>
                <c:pt idx="5">
                  <c:v/>
                </c:pt>
                <c:pt idx="6">
                  <c:v/>
                </c:pt>
                <c:pt idx="7">
                  <c:v/>
                </c:pt>
                <c:pt idx="8">
                  <c:v/>
                </c:pt>
                <c:pt idx="9">
                  <c:v/>
                </c:pt>
                <c:pt idx="10">
                  <c:v/>
                </c:pt>
                <c:pt idx="11">
                  <c:v/>
                </c:pt>
              </c:strCache>
            </c:strRef>
          </c:cat>
          <c:val>
            <c:numRef>
              <c:f>Sheet1!$F$2:$F$13</c:f>
              <c:numCache>
                <c:formatCode>General</c:formatCode>
                <c:ptCount val="12"/>
                <c:pt idx="0">
                  <c:v>8494.21</c:v>
                </c:pt>
                <c:pt idx="1">
                  <c:v>12630.24</c:v>
                </c:pt>
                <c:pt idx="2">
                  <c:v>13017.66</c:v>
                </c:pt>
                <c:pt idx="3">
                  <c:v>4420.91</c:v>
                </c:pt>
                <c:pt idx="7">
                  <c:v>9642.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72.912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6</c:v>
                </c:pt>
                <c:pt idx="1">
                  <c:v>IX 83</c:v>
                </c:pt>
                <c:pt idx="2">
                  <c:v/>
                </c:pt>
                <c:pt idx="3">
                  <c:v/>
                </c:pt>
                <c:pt idx="4">
                  <c:v/>
                </c:pt>
                <c:pt idx="5">
                  <c:v/>
                </c:pt>
                <c:pt idx="6">
                  <c:v/>
                </c:pt>
                <c:pt idx="7">
                  <c:v/>
                </c:pt>
                <c:pt idx="8">
                  <c:v/>
                </c:pt>
              </c:strCache>
            </c:strRef>
          </c:cat>
          <c:val>
            <c:numRef>
              <c:f>Sheet1!$B$2:$B$10</c:f>
              <c:numCache>
                <c:formatCode>General</c:formatCode>
                <c:ptCount val="9"/>
                <c:pt idx="0">
                  <c:v>1280.45</c:v>
                </c:pt>
                <c:pt idx="1">
                  <c:v>1349.38</c:v>
                </c:pt>
                <c:pt idx="2">
                  <c:v>1844.49</c:v>
                </c:pt>
                <c:pt idx="3">
                  <c:v>1505.84</c:v>
                </c:pt>
                <c:pt idx="4">
                  <c:v>791.63</c:v>
                </c:pt>
                <c:pt idx="5">
                  <c:v>13214.68</c:v>
                </c:pt>
                <c:pt idx="6">
                  <c:v>6042.8</c:v>
                </c:pt>
                <c:pt idx="7">
                  <c:v>18560.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6</a:t>
                    </a:r>
                  </a:p>
                  <a:p>
                    <a:r>
                      <a:t>984.64</a:t>
                    </a:r>
                  </a:p>
                </c:rich>
              </c:tx>
              <c:dLblPos val="l"/>
              <c:showLegendKey val="0"/>
              <c:showVal val="1"/>
              <c:showCatName val="0"/>
              <c:showSerName val="0"/>
              <c:showPercent val="0"/>
              <c:showBubbleSize val="0"/>
            </c:dLbl>
            <c:dLbl>
              <c:idx val="1"/>
              <c:tx>
                <c:rich>
                  <a:bodyPr/>
                  <a:lstStyle/>
                  <a:p>
                    <a:r>
                      <a:t>IX 83</a:t>
                    </a:r>
                  </a:p>
                  <a:p>
                    <a:r>
                      <a:t>1144.1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6</c:v>
                </c:pt>
                <c:pt idx="1">
                  <c:v>IX 83</c:v>
                </c:pt>
                <c:pt idx="2">
                  <c:v/>
                </c:pt>
                <c:pt idx="3">
                  <c:v/>
                </c:pt>
                <c:pt idx="4">
                  <c:v/>
                </c:pt>
                <c:pt idx="5">
                  <c:v/>
                </c:pt>
                <c:pt idx="6">
                  <c:v/>
                </c:pt>
                <c:pt idx="7">
                  <c:v/>
                </c:pt>
                <c:pt idx="8">
                  <c:v/>
                </c:pt>
              </c:strCache>
            </c:strRef>
          </c:cat>
          <c:val>
            <c:numRef>
              <c:f>Sheet1!$C$2:$C$10</c:f>
              <c:numCache>
                <c:formatCode>General</c:formatCode>
                <c:ptCount val="9"/>
                <c:pt idx="0">
                  <c:v>984.64</c:v>
                </c:pt>
                <c:pt idx="1">
                  <c:v>1144.1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6</c:v>
                </c:pt>
                <c:pt idx="1">
                  <c:v>IX 83</c:v>
                </c:pt>
                <c:pt idx="2">
                  <c:v/>
                </c:pt>
                <c:pt idx="3">
                  <c:v/>
                </c:pt>
                <c:pt idx="4">
                  <c:v/>
                </c:pt>
                <c:pt idx="5">
                  <c:v/>
                </c:pt>
                <c:pt idx="6">
                  <c:v/>
                </c:pt>
                <c:pt idx="7">
                  <c:v/>
                </c:pt>
                <c:pt idx="8">
                  <c:v/>
                </c:pt>
              </c:strCache>
            </c:strRef>
          </c:cat>
          <c:val>
            <c:numRef>
              <c:f>Sheet1!$D$2:$D$10</c:f>
              <c:numCache>
                <c:formatCode>General</c:formatCode>
                <c:ptCount val="9"/>
                <c:pt idx="0">
                  <c:v>2717.15</c:v>
                </c:pt>
                <c:pt idx="1">
                  <c:v>1382.31</c:v>
                </c:pt>
                <c:pt idx="2">
                  <c:v>1828.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6</c:v>
                </c:pt>
                <c:pt idx="1">
                  <c:v>IX 83</c:v>
                </c:pt>
                <c:pt idx="2">
                  <c:v/>
                </c:pt>
                <c:pt idx="3">
                  <c:v/>
                </c:pt>
                <c:pt idx="4">
                  <c:v/>
                </c:pt>
                <c:pt idx="5">
                  <c:v/>
                </c:pt>
                <c:pt idx="6">
                  <c:v/>
                </c:pt>
                <c:pt idx="7">
                  <c:v/>
                </c:pt>
                <c:pt idx="8">
                  <c:v/>
                </c:pt>
              </c:strCache>
            </c:strRef>
          </c:cat>
          <c:val>
            <c:numRef>
              <c:f>Sheet1!$E$2:$E$10</c:f>
              <c:numCache>
                <c:formatCode>General</c:formatCode>
                <c:ptCount val="9"/>
                <c:pt idx="0">
                  <c:v>8692.82</c:v>
                </c:pt>
                <c:pt idx="2">
                  <c:v>1874.19</c:v>
                </c:pt>
                <c:pt idx="5">
                  <c:v>13214.6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6</c:v>
                </c:pt>
                <c:pt idx="1">
                  <c:v>IX 83</c:v>
                </c:pt>
                <c:pt idx="2">
                  <c:v/>
                </c:pt>
                <c:pt idx="3">
                  <c:v/>
                </c:pt>
                <c:pt idx="4">
                  <c:v/>
                </c:pt>
                <c:pt idx="5">
                  <c:v/>
                </c:pt>
                <c:pt idx="6">
                  <c:v/>
                </c:pt>
                <c:pt idx="7">
                  <c:v/>
                </c:pt>
                <c:pt idx="8">
                  <c:v/>
                </c:pt>
              </c:strCache>
            </c:strRef>
          </c:cat>
          <c:val>
            <c:numRef>
              <c:f>Sheet1!$F$2:$F$10</c:f>
              <c:numCache>
                <c:formatCode>General</c:formatCode>
                <c:ptCount val="9"/>
                <c:pt idx="6">
                  <c:v>604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0.5"/>
          <c:min val="791.128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91</c:v>
                </c:pt>
                <c:pt idx="2">
                  <c:v/>
                </c:pt>
                <c:pt idx="3">
                  <c:v>IX 100</c:v>
                </c:pt>
                <c:pt idx="4">
                  <c:v>IX 0</c:v>
                </c:pt>
                <c:pt idx="5">
                  <c:v/>
                </c:pt>
                <c:pt idx="6">
                  <c:v/>
                </c:pt>
                <c:pt idx="7">
                  <c:v/>
                </c:pt>
                <c:pt idx="8">
                  <c:v/>
                </c:pt>
              </c:strCache>
            </c:strRef>
          </c:cat>
          <c:val>
            <c:numRef>
              <c:f>Sheet1!$B$2:$B$10</c:f>
              <c:numCache>
                <c:formatCode>General</c:formatCode>
                <c:ptCount val="9"/>
                <c:pt idx="0">
                  <c:v>1280.45</c:v>
                </c:pt>
                <c:pt idx="1">
                  <c:v>1349.38</c:v>
                </c:pt>
                <c:pt idx="2">
                  <c:v>1844.49</c:v>
                </c:pt>
                <c:pt idx="3">
                  <c:v>1505.84</c:v>
                </c:pt>
                <c:pt idx="4">
                  <c:v>791.63</c:v>
                </c:pt>
                <c:pt idx="5">
                  <c:v>13214.68</c:v>
                </c:pt>
                <c:pt idx="6">
                  <c:v>6042.8</c:v>
                </c:pt>
                <c:pt idx="7">
                  <c:v>18560.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8</a:t>
                    </a:r>
                  </a:p>
                  <a:p>
                    <a:r>
                      <a:t>1037.89</a:t>
                    </a:r>
                  </a:p>
                </c:rich>
              </c:tx>
              <c:dLblPos val="l"/>
              <c:showLegendKey val="0"/>
              <c:showVal val="1"/>
              <c:showCatName val="0"/>
              <c:showSerName val="0"/>
              <c:showPercent val="0"/>
              <c:showBubbleSize val="0"/>
            </c:dLbl>
            <c:dLbl>
              <c:idx val="1"/>
              <c:tx>
                <c:rich>
                  <a:bodyPr/>
                  <a:lstStyle/>
                  <a:p>
                    <a:r>
                      <a:t>IX 91</a:t>
                    </a:r>
                  </a:p>
                  <a:p>
                    <a:r>
                      <a:t>1264.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632.99</a:t>
                    </a:r>
                  </a:p>
                </c:rich>
              </c:tx>
              <c:dLblPos val="l"/>
              <c:showLegendKey val="0"/>
              <c:showVal val="1"/>
              <c:showCatName val="0"/>
              <c:showSerName val="0"/>
              <c:showPercent val="0"/>
              <c:showBubbleSize val="0"/>
            </c:dLbl>
            <c:dLbl>
              <c:idx val="4"/>
              <c:tx>
                <c:rich>
                  <a:bodyPr/>
                  <a:lstStyle/>
                  <a:p>
                    <a:r>
                      <a:t>IX 0</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91</c:v>
                </c:pt>
                <c:pt idx="2">
                  <c:v/>
                </c:pt>
                <c:pt idx="3">
                  <c:v>IX 100</c:v>
                </c:pt>
                <c:pt idx="4">
                  <c:v>IX 0</c:v>
                </c:pt>
                <c:pt idx="5">
                  <c:v/>
                </c:pt>
                <c:pt idx="6">
                  <c:v/>
                </c:pt>
                <c:pt idx="7">
                  <c:v/>
                </c:pt>
                <c:pt idx="8">
                  <c:v/>
                </c:pt>
              </c:strCache>
            </c:strRef>
          </c:cat>
          <c:val>
            <c:numRef>
              <c:f>Sheet1!$C$2:$C$10</c:f>
              <c:numCache>
                <c:formatCode>General</c:formatCode>
                <c:ptCount val="9"/>
                <c:pt idx="0">
                  <c:v>1037.89</c:v>
                </c:pt>
                <c:pt idx="1">
                  <c:v>1264.1</c:v>
                </c:pt>
                <c:pt idx="3">
                  <c:v>1632.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91</c:v>
                </c:pt>
                <c:pt idx="2">
                  <c:v/>
                </c:pt>
                <c:pt idx="3">
                  <c:v>IX 100</c:v>
                </c:pt>
                <c:pt idx="4">
                  <c:v>IX 0</c:v>
                </c:pt>
                <c:pt idx="5">
                  <c:v/>
                </c:pt>
                <c:pt idx="6">
                  <c:v/>
                </c:pt>
                <c:pt idx="7">
                  <c:v/>
                </c:pt>
                <c:pt idx="8">
                  <c:v/>
                </c:pt>
              </c:strCache>
            </c:strRef>
          </c:cat>
          <c:val>
            <c:numRef>
              <c:f>Sheet1!$D$2:$D$10</c:f>
              <c:numCache>
                <c:formatCode>General</c:formatCode>
                <c:ptCount val="9"/>
                <c:pt idx="0">
                  <c:v>2717.15</c:v>
                </c:pt>
                <c:pt idx="1">
                  <c:v>1382.31</c:v>
                </c:pt>
                <c:pt idx="2">
                  <c:v>1828.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91</c:v>
                </c:pt>
                <c:pt idx="2">
                  <c:v/>
                </c:pt>
                <c:pt idx="3">
                  <c:v>IX 100</c:v>
                </c:pt>
                <c:pt idx="4">
                  <c:v>IX 0</c:v>
                </c:pt>
                <c:pt idx="5">
                  <c:v/>
                </c:pt>
                <c:pt idx="6">
                  <c:v/>
                </c:pt>
                <c:pt idx="7">
                  <c:v/>
                </c:pt>
                <c:pt idx="8">
                  <c:v/>
                </c:pt>
              </c:strCache>
            </c:strRef>
          </c:cat>
          <c:val>
            <c:numRef>
              <c:f>Sheet1!$E$2:$E$10</c:f>
              <c:numCache>
                <c:formatCode>General</c:formatCode>
                <c:ptCount val="9"/>
                <c:pt idx="0">
                  <c:v>8692.82</c:v>
                </c:pt>
                <c:pt idx="2">
                  <c:v>1874.19</c:v>
                </c:pt>
                <c:pt idx="5">
                  <c:v>13214.6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38</c:v>
                </c:pt>
                <c:pt idx="1">
                  <c:v>IX 91</c:v>
                </c:pt>
                <c:pt idx="2">
                  <c:v/>
                </c:pt>
                <c:pt idx="3">
                  <c:v>IX 100</c:v>
                </c:pt>
                <c:pt idx="4">
                  <c:v>IX 0</c:v>
                </c:pt>
                <c:pt idx="5">
                  <c:v/>
                </c:pt>
                <c:pt idx="6">
                  <c:v/>
                </c:pt>
                <c:pt idx="7">
                  <c:v/>
                </c:pt>
                <c:pt idx="8">
                  <c:v/>
                </c:pt>
              </c:strCache>
            </c:strRef>
          </c:cat>
          <c:val>
            <c:numRef>
              <c:f>Sheet1!$F$2:$F$10</c:f>
              <c:numCache>
                <c:formatCode>General</c:formatCode>
                <c:ptCount val="9"/>
                <c:pt idx="6">
                  <c:v>604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0.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24</c:v>
                </c:pt>
                <c:pt idx="2">
                  <c:v/>
                </c:pt>
                <c:pt idx="3">
                  <c:v/>
                </c:pt>
                <c:pt idx="4">
                  <c:v/>
                </c:pt>
                <c:pt idx="5">
                  <c:v/>
                </c:pt>
                <c:pt idx="6">
                  <c:v/>
                </c:pt>
                <c:pt idx="7">
                  <c:v/>
                </c:pt>
                <c:pt idx="8">
                  <c:v/>
                </c:pt>
              </c:strCache>
            </c:strRef>
          </c:cat>
          <c:val>
            <c:numRef>
              <c:f>Sheet1!$B$2:$B$10</c:f>
              <c:numCache>
                <c:formatCode>General</c:formatCode>
                <c:ptCount val="9"/>
                <c:pt idx="0">
                  <c:v>1280.45</c:v>
                </c:pt>
                <c:pt idx="1">
                  <c:v>1349.38</c:v>
                </c:pt>
                <c:pt idx="2">
                  <c:v>1844.49</c:v>
                </c:pt>
                <c:pt idx="3">
                  <c:v>1505.84</c:v>
                </c:pt>
                <c:pt idx="4">
                  <c:v>791.63</c:v>
                </c:pt>
                <c:pt idx="5">
                  <c:v>13214.68</c:v>
                </c:pt>
                <c:pt idx="6">
                  <c:v>6042.8</c:v>
                </c:pt>
                <c:pt idx="7">
                  <c:v>18560.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4</a:t>
                    </a:r>
                  </a:p>
                  <a:p>
                    <a:r>
                      <a:t>1715.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24</c:v>
                </c:pt>
                <c:pt idx="2">
                  <c:v/>
                </c:pt>
                <c:pt idx="3">
                  <c:v/>
                </c:pt>
                <c:pt idx="4">
                  <c:v/>
                </c:pt>
                <c:pt idx="5">
                  <c:v/>
                </c:pt>
                <c:pt idx="6">
                  <c:v/>
                </c:pt>
                <c:pt idx="7">
                  <c:v/>
                </c:pt>
                <c:pt idx="8">
                  <c:v/>
                </c:pt>
              </c:strCache>
            </c:strRef>
          </c:cat>
          <c:val>
            <c:numRef>
              <c:f>Sheet1!$C$2:$C$10</c:f>
              <c:numCache>
                <c:formatCode>General</c:formatCode>
                <c:ptCount val="9"/>
                <c:pt idx="1">
                  <c:v>1715.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24</c:v>
                </c:pt>
                <c:pt idx="2">
                  <c:v/>
                </c:pt>
                <c:pt idx="3">
                  <c:v/>
                </c:pt>
                <c:pt idx="4">
                  <c:v/>
                </c:pt>
                <c:pt idx="5">
                  <c:v/>
                </c:pt>
                <c:pt idx="6">
                  <c:v/>
                </c:pt>
                <c:pt idx="7">
                  <c:v/>
                </c:pt>
                <c:pt idx="8">
                  <c:v/>
                </c:pt>
              </c:strCache>
            </c:strRef>
          </c:cat>
          <c:val>
            <c:numRef>
              <c:f>Sheet1!$D$2:$D$10</c:f>
              <c:numCache>
                <c:formatCode>General</c:formatCode>
                <c:ptCount val="9"/>
                <c:pt idx="0">
                  <c:v>2717.15</c:v>
                </c:pt>
                <c:pt idx="1">
                  <c:v>1382.31</c:v>
                </c:pt>
                <c:pt idx="2">
                  <c:v>1828.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24</c:v>
                </c:pt>
                <c:pt idx="2">
                  <c:v/>
                </c:pt>
                <c:pt idx="3">
                  <c:v/>
                </c:pt>
                <c:pt idx="4">
                  <c:v/>
                </c:pt>
                <c:pt idx="5">
                  <c:v/>
                </c:pt>
                <c:pt idx="6">
                  <c:v/>
                </c:pt>
                <c:pt idx="7">
                  <c:v/>
                </c:pt>
                <c:pt idx="8">
                  <c:v/>
                </c:pt>
              </c:strCache>
            </c:strRef>
          </c:cat>
          <c:val>
            <c:numRef>
              <c:f>Sheet1!$E$2:$E$10</c:f>
              <c:numCache>
                <c:formatCode>General</c:formatCode>
                <c:ptCount val="9"/>
                <c:pt idx="0">
                  <c:v>8692.82</c:v>
                </c:pt>
                <c:pt idx="2">
                  <c:v>1874.19</c:v>
                </c:pt>
                <c:pt idx="5">
                  <c:v>13214.6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24</c:v>
                </c:pt>
                <c:pt idx="2">
                  <c:v/>
                </c:pt>
                <c:pt idx="3">
                  <c:v/>
                </c:pt>
                <c:pt idx="4">
                  <c:v/>
                </c:pt>
                <c:pt idx="5">
                  <c:v/>
                </c:pt>
                <c:pt idx="6">
                  <c:v/>
                </c:pt>
                <c:pt idx="7">
                  <c:v/>
                </c:pt>
                <c:pt idx="8">
                  <c:v/>
                </c:pt>
              </c:strCache>
            </c:strRef>
          </c:cat>
          <c:val>
            <c:numRef>
              <c:f>Sheet1!$F$2:$F$10</c:f>
              <c:numCache>
                <c:formatCode>General</c:formatCode>
                <c:ptCount val="9"/>
                <c:pt idx="6">
                  <c:v>604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0.5"/>
          <c:min val="791.128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50</c:v>
                </c:pt>
                <c:pt idx="1">
                  <c:v>IX 92</c:v>
                </c:pt>
                <c:pt idx="2">
                  <c:v/>
                </c:pt>
                <c:pt idx="3">
                  <c:v/>
                </c:pt>
                <c:pt idx="4">
                  <c:v/>
                </c:pt>
                <c:pt idx="5">
                  <c:v/>
                </c:pt>
                <c:pt idx="6">
                  <c:v/>
                </c:pt>
                <c:pt idx="7">
                  <c:v/>
                </c:pt>
                <c:pt idx="8">
                  <c:v/>
                </c:pt>
                <c:pt idx="9">
                  <c:v/>
                </c:pt>
                <c:pt idx="10">
                  <c:v/>
                </c:pt>
                <c:pt idx="11">
                  <c:v/>
                </c:pt>
              </c:strCache>
            </c:strRef>
          </c:cat>
          <c:val>
            <c:numRef>
              <c:f>Sheet1!$B$2:$B$13</c:f>
              <c:numCache>
                <c:formatCode>General</c:formatCode>
                <c:ptCount val="12"/>
                <c:pt idx="0">
                  <c:v>1636.52</c:v>
                </c:pt>
                <c:pt idx="1">
                  <c:v>1386.24</c:v>
                </c:pt>
                <c:pt idx="2">
                  <c:v>1742.97</c:v>
                </c:pt>
                <c:pt idx="3">
                  <c:v>1480.81</c:v>
                </c:pt>
                <c:pt idx="4">
                  <c:v>10910.92</c:v>
                </c:pt>
                <c:pt idx="5">
                  <c:v>2652.47</c:v>
                </c:pt>
                <c:pt idx="6">
                  <c:v>26926.25</c:v>
                </c:pt>
                <c:pt idx="7">
                  <c:v>1285.16</c:v>
                </c:pt>
                <c:pt idx="8">
                  <c:v>5288.91</c:v>
                </c:pt>
                <c:pt idx="9">
                  <c:v>2887.28</c:v>
                </c:pt>
                <c:pt idx="10">
                  <c:v>5981.9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0</a:t>
                    </a:r>
                  </a:p>
                  <a:p>
                    <a:r>
                      <a:t>1159.99</a:t>
                    </a:r>
                  </a:p>
                </c:rich>
              </c:tx>
              <c:dLblPos val="l"/>
              <c:showLegendKey val="0"/>
              <c:showVal val="1"/>
              <c:showCatName val="0"/>
              <c:showSerName val="0"/>
              <c:showPercent val="0"/>
              <c:showBubbleSize val="0"/>
            </c:dLbl>
            <c:dLbl>
              <c:idx val="1"/>
              <c:tx>
                <c:rich>
                  <a:bodyPr/>
                  <a:lstStyle/>
                  <a:p>
                    <a:r>
                      <a:t>IX 92</a:t>
                    </a:r>
                  </a:p>
                  <a:p>
                    <a:r>
                      <a:t>1233.4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50</c:v>
                </c:pt>
                <c:pt idx="1">
                  <c:v>IX 92</c:v>
                </c:pt>
                <c:pt idx="2">
                  <c:v/>
                </c:pt>
                <c:pt idx="3">
                  <c:v/>
                </c:pt>
                <c:pt idx="4">
                  <c:v/>
                </c:pt>
                <c:pt idx="5">
                  <c:v/>
                </c:pt>
                <c:pt idx="6">
                  <c:v/>
                </c:pt>
                <c:pt idx="7">
                  <c:v/>
                </c:pt>
                <c:pt idx="8">
                  <c:v/>
                </c:pt>
                <c:pt idx="9">
                  <c:v/>
                </c:pt>
                <c:pt idx="10">
                  <c:v/>
                </c:pt>
                <c:pt idx="11">
                  <c:v/>
                </c:pt>
              </c:strCache>
            </c:strRef>
          </c:cat>
          <c:val>
            <c:numRef>
              <c:f>Sheet1!$C$2:$C$13</c:f>
              <c:numCache>
                <c:formatCode>General</c:formatCode>
                <c:ptCount val="12"/>
                <c:pt idx="0">
                  <c:v>1159.99</c:v>
                </c:pt>
                <c:pt idx="1">
                  <c:v>1233.4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50</c:v>
                </c:pt>
                <c:pt idx="1">
                  <c:v>IX 92</c:v>
                </c:pt>
                <c:pt idx="2">
                  <c:v/>
                </c:pt>
                <c:pt idx="3">
                  <c:v/>
                </c:pt>
                <c:pt idx="4">
                  <c:v/>
                </c:pt>
                <c:pt idx="5">
                  <c:v/>
                </c:pt>
                <c:pt idx="6">
                  <c:v/>
                </c:pt>
                <c:pt idx="7">
                  <c:v/>
                </c:pt>
                <c:pt idx="8">
                  <c:v/>
                </c:pt>
                <c:pt idx="9">
                  <c:v/>
                </c:pt>
                <c:pt idx="10">
                  <c:v/>
                </c:pt>
                <c:pt idx="11">
                  <c:v/>
                </c:pt>
              </c:strCache>
            </c:strRef>
          </c:cat>
          <c:val>
            <c:numRef>
              <c:f>Sheet1!$D$2:$D$13</c:f>
              <c:numCache>
                <c:formatCode>General</c:formatCode>
                <c:ptCount val="12"/>
                <c:pt idx="0">
                  <c:v>2304.94</c:v>
                </c:pt>
                <c:pt idx="1">
                  <c:v>1341.59</c:v>
                </c:pt>
                <c:pt idx="2">
                  <c:v>1392.25</c:v>
                </c:pt>
                <c:pt idx="4">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50</c:v>
                </c:pt>
                <c:pt idx="1">
                  <c:v>IX 92</c:v>
                </c:pt>
                <c:pt idx="2">
                  <c:v/>
                </c:pt>
                <c:pt idx="3">
                  <c:v/>
                </c:pt>
                <c:pt idx="4">
                  <c:v/>
                </c:pt>
                <c:pt idx="5">
                  <c:v/>
                </c:pt>
                <c:pt idx="6">
                  <c:v/>
                </c:pt>
                <c:pt idx="7">
                  <c:v/>
                </c:pt>
                <c:pt idx="8">
                  <c:v/>
                </c:pt>
                <c:pt idx="9">
                  <c:v/>
                </c:pt>
                <c:pt idx="10">
                  <c:v/>
                </c:pt>
                <c:pt idx="11">
                  <c:v/>
                </c:pt>
              </c:strCache>
            </c:strRef>
          </c:cat>
          <c:val>
            <c:numRef>
              <c:f>Sheet1!$E$2:$E$13</c:f>
              <c:numCache>
                <c:formatCode>General</c:formatCode>
                <c:ptCount val="12"/>
                <c:pt idx="0">
                  <c:v>12548.96</c:v>
                </c:pt>
                <c:pt idx="1">
                  <c:v>7565.55</c:v>
                </c:pt>
                <c:pt idx="2">
                  <c:v>2469.05</c:v>
                </c:pt>
                <c:pt idx="3">
                  <c:v>3020.95</c:v>
                </c:pt>
                <c:pt idx="4">
                  <c:v>14196.87</c:v>
                </c:pt>
                <c:pt idx="5">
                  <c:v>3055.81</c:v>
                </c:pt>
                <c:pt idx="6">
                  <c:v>61148.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50</c:v>
                </c:pt>
                <c:pt idx="1">
                  <c:v>IX 92</c:v>
                </c:pt>
                <c:pt idx="2">
                  <c:v/>
                </c:pt>
                <c:pt idx="3">
                  <c:v/>
                </c:pt>
                <c:pt idx="4">
                  <c:v/>
                </c:pt>
                <c:pt idx="5">
                  <c:v/>
                </c:pt>
                <c:pt idx="6">
                  <c:v/>
                </c:pt>
                <c:pt idx="7">
                  <c:v/>
                </c:pt>
                <c:pt idx="8">
                  <c:v/>
                </c:pt>
                <c:pt idx="9">
                  <c:v/>
                </c:pt>
                <c:pt idx="10">
                  <c:v/>
                </c:pt>
                <c:pt idx="11">
                  <c:v/>
                </c:pt>
              </c:strCache>
            </c:strRef>
          </c:cat>
          <c:val>
            <c:numRef>
              <c:f>Sheet1!$F$2:$F$13</c:f>
              <c:numCache>
                <c:formatCode>General</c:formatCode>
                <c:ptCount val="12"/>
                <c:pt idx="0">
                  <c:v>8064.15</c:v>
                </c:pt>
                <c:pt idx="1">
                  <c:v>3641.99</c:v>
                </c:pt>
                <c:pt idx="2">
                  <c:v>11375.34</c:v>
                </c:pt>
                <c:pt idx="4">
                  <c:v>11313.55</c:v>
                </c:pt>
                <c:pt idx="10">
                  <c:v>5394.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148.7078"/>
          <c:min val="1159.491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93</c:v>
                </c:pt>
                <c:pt idx="2">
                  <c:v/>
                </c:pt>
                <c:pt idx="3">
                  <c:v>IX 100</c:v>
                </c:pt>
                <c:pt idx="4">
                  <c:v>IX 40</c:v>
                </c:pt>
                <c:pt idx="5">
                  <c:v/>
                </c:pt>
                <c:pt idx="6">
                  <c:v/>
                </c:pt>
                <c:pt idx="7">
                  <c:v>IX 100</c:v>
                </c:pt>
                <c:pt idx="8">
                  <c:v/>
                </c:pt>
                <c:pt idx="9">
                  <c:v>IX 100</c:v>
                </c:pt>
                <c:pt idx="10">
                  <c:v/>
                </c:pt>
                <c:pt idx="11">
                  <c:v/>
                </c:pt>
              </c:strCache>
            </c:strRef>
          </c:cat>
          <c:val>
            <c:numRef>
              <c:f>Sheet1!$B$2:$B$13</c:f>
              <c:numCache>
                <c:formatCode>General</c:formatCode>
                <c:ptCount val="12"/>
                <c:pt idx="0">
                  <c:v>1636.52</c:v>
                </c:pt>
                <c:pt idx="1">
                  <c:v>1386.24</c:v>
                </c:pt>
                <c:pt idx="2">
                  <c:v>1742.97</c:v>
                </c:pt>
                <c:pt idx="3">
                  <c:v>1480.81</c:v>
                </c:pt>
                <c:pt idx="4">
                  <c:v>10910.92</c:v>
                </c:pt>
                <c:pt idx="5">
                  <c:v>2652.47</c:v>
                </c:pt>
                <c:pt idx="6">
                  <c:v>26926.25</c:v>
                </c:pt>
                <c:pt idx="7">
                  <c:v>1285.16</c:v>
                </c:pt>
                <c:pt idx="8">
                  <c:v>5288.91</c:v>
                </c:pt>
                <c:pt idx="9">
                  <c:v>2887.28</c:v>
                </c:pt>
                <c:pt idx="10">
                  <c:v>5981.9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6</a:t>
                    </a:r>
                  </a:p>
                  <a:p>
                    <a:r>
                      <a:t>1058.25</a:t>
                    </a:r>
                  </a:p>
                </c:rich>
              </c:tx>
              <c:dLblPos val="l"/>
              <c:showLegendKey val="0"/>
              <c:showVal val="1"/>
              <c:showCatName val="0"/>
              <c:showSerName val="0"/>
              <c:showPercent val="0"/>
              <c:showBubbleSize val="0"/>
            </c:dLbl>
            <c:dLbl>
              <c:idx val="1"/>
              <c:tx>
                <c:rich>
                  <a:bodyPr/>
                  <a:lstStyle/>
                  <a:p>
                    <a:r>
                      <a:t>IX 93</a:t>
                    </a:r>
                  </a:p>
                  <a:p>
                    <a:r>
                      <a:t>1249.3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403.16</a:t>
                    </a:r>
                  </a:p>
                </c:rich>
              </c:tx>
              <c:dLblPos val="l"/>
              <c:showLegendKey val="0"/>
              <c:showVal val="1"/>
              <c:showCatName val="0"/>
              <c:showSerName val="0"/>
              <c:showPercent val="0"/>
              <c:showBubbleSize val="0"/>
            </c:dLbl>
            <c:dLbl>
              <c:idx val="4"/>
              <c:tx>
                <c:rich>
                  <a:bodyPr/>
                  <a:lstStyle/>
                  <a:p>
                    <a:r>
                      <a:t>IX 40</a:t>
                    </a:r>
                  </a:p>
                  <a:p>
                    <a:r>
                      <a:t>5633.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IX 100</a:t>
                    </a:r>
                  </a:p>
                  <a:p>
                    <a:r>
                      <a:t>601.47</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IX 100</a:t>
                    </a:r>
                  </a:p>
                  <a:p>
                    <a:r>
                      <a:t>2887.28</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93</c:v>
                </c:pt>
                <c:pt idx="2">
                  <c:v/>
                </c:pt>
                <c:pt idx="3">
                  <c:v>IX 100</c:v>
                </c:pt>
                <c:pt idx="4">
                  <c:v>IX 40</c:v>
                </c:pt>
                <c:pt idx="5">
                  <c:v/>
                </c:pt>
                <c:pt idx="6">
                  <c:v/>
                </c:pt>
                <c:pt idx="7">
                  <c:v>IX 100</c:v>
                </c:pt>
                <c:pt idx="8">
                  <c:v/>
                </c:pt>
                <c:pt idx="9">
                  <c:v>IX 100</c:v>
                </c:pt>
                <c:pt idx="10">
                  <c:v/>
                </c:pt>
                <c:pt idx="11">
                  <c:v/>
                </c:pt>
              </c:strCache>
            </c:strRef>
          </c:cat>
          <c:val>
            <c:numRef>
              <c:f>Sheet1!$C$2:$C$13</c:f>
              <c:numCache>
                <c:formatCode>General</c:formatCode>
                <c:ptCount val="12"/>
                <c:pt idx="0">
                  <c:v>1058.25</c:v>
                </c:pt>
                <c:pt idx="1">
                  <c:v>1249.39</c:v>
                </c:pt>
                <c:pt idx="3">
                  <c:v>1403.16</c:v>
                </c:pt>
                <c:pt idx="4">
                  <c:v>5633.8</c:v>
                </c:pt>
                <c:pt idx="7">
                  <c:v>601.47</c:v>
                </c:pt>
                <c:pt idx="9">
                  <c:v>2887.2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93</c:v>
                </c:pt>
                <c:pt idx="2">
                  <c:v/>
                </c:pt>
                <c:pt idx="3">
                  <c:v>IX 100</c:v>
                </c:pt>
                <c:pt idx="4">
                  <c:v>IX 40</c:v>
                </c:pt>
                <c:pt idx="5">
                  <c:v/>
                </c:pt>
                <c:pt idx="6">
                  <c:v/>
                </c:pt>
                <c:pt idx="7">
                  <c:v>IX 100</c:v>
                </c:pt>
                <c:pt idx="8">
                  <c:v/>
                </c:pt>
                <c:pt idx="9">
                  <c:v>IX 100</c:v>
                </c:pt>
                <c:pt idx="10">
                  <c:v/>
                </c:pt>
                <c:pt idx="11">
                  <c:v/>
                </c:pt>
              </c:strCache>
            </c:strRef>
          </c:cat>
          <c:val>
            <c:numRef>
              <c:f>Sheet1!$D$2:$D$13</c:f>
              <c:numCache>
                <c:formatCode>General</c:formatCode>
                <c:ptCount val="12"/>
                <c:pt idx="0">
                  <c:v>2304.94</c:v>
                </c:pt>
                <c:pt idx="1">
                  <c:v>1341.59</c:v>
                </c:pt>
                <c:pt idx="2">
                  <c:v>1392.25</c:v>
                </c:pt>
                <c:pt idx="4">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93</c:v>
                </c:pt>
                <c:pt idx="2">
                  <c:v/>
                </c:pt>
                <c:pt idx="3">
                  <c:v>IX 100</c:v>
                </c:pt>
                <c:pt idx="4">
                  <c:v>IX 40</c:v>
                </c:pt>
                <c:pt idx="5">
                  <c:v/>
                </c:pt>
                <c:pt idx="6">
                  <c:v/>
                </c:pt>
                <c:pt idx="7">
                  <c:v>IX 100</c:v>
                </c:pt>
                <c:pt idx="8">
                  <c:v/>
                </c:pt>
                <c:pt idx="9">
                  <c:v>IX 100</c:v>
                </c:pt>
                <c:pt idx="10">
                  <c:v/>
                </c:pt>
                <c:pt idx="11">
                  <c:v/>
                </c:pt>
              </c:strCache>
            </c:strRef>
          </c:cat>
          <c:val>
            <c:numRef>
              <c:f>Sheet1!$E$2:$E$13</c:f>
              <c:numCache>
                <c:formatCode>General</c:formatCode>
                <c:ptCount val="12"/>
                <c:pt idx="0">
                  <c:v>12548.96</c:v>
                </c:pt>
                <c:pt idx="1">
                  <c:v>7565.55</c:v>
                </c:pt>
                <c:pt idx="2">
                  <c:v>2469.05</c:v>
                </c:pt>
                <c:pt idx="3">
                  <c:v>3020.95</c:v>
                </c:pt>
                <c:pt idx="4">
                  <c:v>14196.87</c:v>
                </c:pt>
                <c:pt idx="5">
                  <c:v>3055.81</c:v>
                </c:pt>
                <c:pt idx="6">
                  <c:v>61148.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6</c:v>
                </c:pt>
                <c:pt idx="1">
                  <c:v>IX 93</c:v>
                </c:pt>
                <c:pt idx="2">
                  <c:v/>
                </c:pt>
                <c:pt idx="3">
                  <c:v>IX 100</c:v>
                </c:pt>
                <c:pt idx="4">
                  <c:v>IX 40</c:v>
                </c:pt>
                <c:pt idx="5">
                  <c:v/>
                </c:pt>
                <c:pt idx="6">
                  <c:v/>
                </c:pt>
                <c:pt idx="7">
                  <c:v>IX 100</c:v>
                </c:pt>
                <c:pt idx="8">
                  <c:v/>
                </c:pt>
                <c:pt idx="9">
                  <c:v>IX 100</c:v>
                </c:pt>
                <c:pt idx="10">
                  <c:v/>
                </c:pt>
                <c:pt idx="11">
                  <c:v/>
                </c:pt>
              </c:strCache>
            </c:strRef>
          </c:cat>
          <c:val>
            <c:numRef>
              <c:f>Sheet1!$F$2:$F$13</c:f>
              <c:numCache>
                <c:formatCode>General</c:formatCode>
                <c:ptCount val="12"/>
                <c:pt idx="0">
                  <c:v>8064.15</c:v>
                </c:pt>
                <c:pt idx="1">
                  <c:v>3641.99</c:v>
                </c:pt>
                <c:pt idx="2">
                  <c:v>11375.34</c:v>
                </c:pt>
                <c:pt idx="4">
                  <c:v>11313.55</c:v>
                </c:pt>
                <c:pt idx="10">
                  <c:v>5394.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148.7078"/>
          <c:min val="600.96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B$2:$B$2</c:f>
              <c:numCache>
                <c:formatCode>General</c:formatCode>
                <c:ptCount val="1"/>
                <c:pt idx="0">
                  <c:v>2435.2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1214.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C$2:$C$2</c:f>
              <c:numCache>
                <c:formatCode>General</c:formatCode>
                <c:ptCount val="1"/>
                <c:pt idx="0">
                  <c:v>1214.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D$2:$D$2</c:f>
              <c:numCache>
                <c:formatCode>General</c:formatCode>
                <c:ptCount val="1"/>
                <c:pt idx="0">
                  <c:v>1758.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E$2:$E$2</c:f>
              <c:numCache>
                <c:formatCode>General</c:formatCode>
                <c:ptCount val="1"/>
                <c:pt idx="0">
                  <c:v>1053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F$2:$F$2</c:f>
              <c:numCache>
                <c:formatCode>General</c:formatCode>
                <c:ptCount val="1"/>
                <c:pt idx="0">
                  <c:v>7854.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40.3647"/>
          <c:min val="1213.86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00</c:v>
                </c:pt>
                <c:pt idx="2">
                  <c:v/>
                </c:pt>
                <c:pt idx="3">
                  <c:v/>
                </c:pt>
                <c:pt idx="4">
                  <c:v/>
                </c:pt>
                <c:pt idx="5">
                  <c:v/>
                </c:pt>
                <c:pt idx="6">
                  <c:v/>
                </c:pt>
                <c:pt idx="7">
                  <c:v/>
                </c:pt>
                <c:pt idx="8">
                  <c:v/>
                </c:pt>
                <c:pt idx="9">
                  <c:v/>
                </c:pt>
                <c:pt idx="10">
                  <c:v/>
                </c:pt>
                <c:pt idx="11">
                  <c:v/>
                </c:pt>
              </c:strCache>
            </c:strRef>
          </c:cat>
          <c:val>
            <c:numRef>
              <c:f>Sheet1!$B$2:$B$13</c:f>
              <c:numCache>
                <c:formatCode>General</c:formatCode>
                <c:ptCount val="12"/>
                <c:pt idx="0">
                  <c:v>1636.52</c:v>
                </c:pt>
                <c:pt idx="1">
                  <c:v>1386.24</c:v>
                </c:pt>
                <c:pt idx="2">
                  <c:v>1742.97</c:v>
                </c:pt>
                <c:pt idx="3">
                  <c:v>1480.81</c:v>
                </c:pt>
                <c:pt idx="4">
                  <c:v>10910.92</c:v>
                </c:pt>
                <c:pt idx="5">
                  <c:v>2652.47</c:v>
                </c:pt>
                <c:pt idx="6">
                  <c:v>26926.25</c:v>
                </c:pt>
                <c:pt idx="7">
                  <c:v>1285.16</c:v>
                </c:pt>
                <c:pt idx="8">
                  <c:v>5288.91</c:v>
                </c:pt>
                <c:pt idx="9">
                  <c:v>2887.28</c:v>
                </c:pt>
                <c:pt idx="10">
                  <c:v>5981.9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00</a:t>
                    </a:r>
                  </a:p>
                  <a:p>
                    <a:r>
                      <a:t>4025.5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dLblPos val="l"/>
              <c:showLegendKey val="0"/>
              <c:showVal val="1"/>
              <c:showCatName val="0"/>
              <c:showSerName val="0"/>
              <c:showPercent val="0"/>
              <c:showBubbleSize val="0"/>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00</c:v>
                </c:pt>
                <c:pt idx="2">
                  <c:v/>
                </c:pt>
                <c:pt idx="3">
                  <c:v/>
                </c:pt>
                <c:pt idx="4">
                  <c:v/>
                </c:pt>
                <c:pt idx="5">
                  <c:v/>
                </c:pt>
                <c:pt idx="6">
                  <c:v/>
                </c:pt>
                <c:pt idx="7">
                  <c:v/>
                </c:pt>
                <c:pt idx="8">
                  <c:v/>
                </c:pt>
                <c:pt idx="9">
                  <c:v/>
                </c:pt>
                <c:pt idx="10">
                  <c:v/>
                </c:pt>
                <c:pt idx="11">
                  <c:v/>
                </c:pt>
              </c:strCache>
            </c:strRef>
          </c:cat>
          <c:val>
            <c:numRef>
              <c:f>Sheet1!$C$2:$C$13</c:f>
              <c:numCache>
                <c:formatCode>General</c:formatCode>
                <c:ptCount val="12"/>
                <c:pt idx="1">
                  <c:v>4025.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00</c:v>
                </c:pt>
                <c:pt idx="2">
                  <c:v/>
                </c:pt>
                <c:pt idx="3">
                  <c:v/>
                </c:pt>
                <c:pt idx="4">
                  <c:v/>
                </c:pt>
                <c:pt idx="5">
                  <c:v/>
                </c:pt>
                <c:pt idx="6">
                  <c:v/>
                </c:pt>
                <c:pt idx="7">
                  <c:v/>
                </c:pt>
                <c:pt idx="8">
                  <c:v/>
                </c:pt>
                <c:pt idx="9">
                  <c:v/>
                </c:pt>
                <c:pt idx="10">
                  <c:v/>
                </c:pt>
                <c:pt idx="11">
                  <c:v/>
                </c:pt>
              </c:strCache>
            </c:strRef>
          </c:cat>
          <c:val>
            <c:numRef>
              <c:f>Sheet1!$D$2:$D$13</c:f>
              <c:numCache>
                <c:formatCode>General</c:formatCode>
                <c:ptCount val="12"/>
                <c:pt idx="0">
                  <c:v>2304.94</c:v>
                </c:pt>
                <c:pt idx="1">
                  <c:v>1341.59</c:v>
                </c:pt>
                <c:pt idx="2">
                  <c:v>1392.25</c:v>
                </c:pt>
                <c:pt idx="4">
                  <c:v>6200.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00</c:v>
                </c:pt>
                <c:pt idx="2">
                  <c:v/>
                </c:pt>
                <c:pt idx="3">
                  <c:v/>
                </c:pt>
                <c:pt idx="4">
                  <c:v/>
                </c:pt>
                <c:pt idx="5">
                  <c:v/>
                </c:pt>
                <c:pt idx="6">
                  <c:v/>
                </c:pt>
                <c:pt idx="7">
                  <c:v/>
                </c:pt>
                <c:pt idx="8">
                  <c:v/>
                </c:pt>
                <c:pt idx="9">
                  <c:v/>
                </c:pt>
                <c:pt idx="10">
                  <c:v/>
                </c:pt>
                <c:pt idx="11">
                  <c:v/>
                </c:pt>
              </c:strCache>
            </c:strRef>
          </c:cat>
          <c:val>
            <c:numRef>
              <c:f>Sheet1!$E$2:$E$13</c:f>
              <c:numCache>
                <c:formatCode>General</c:formatCode>
                <c:ptCount val="12"/>
                <c:pt idx="0">
                  <c:v>12548.96</c:v>
                </c:pt>
                <c:pt idx="1">
                  <c:v>7565.55</c:v>
                </c:pt>
                <c:pt idx="2">
                  <c:v>2469.05</c:v>
                </c:pt>
                <c:pt idx="3">
                  <c:v>3020.95</c:v>
                </c:pt>
                <c:pt idx="4">
                  <c:v>14196.87</c:v>
                </c:pt>
                <c:pt idx="5">
                  <c:v>3055.81</c:v>
                </c:pt>
                <c:pt idx="6">
                  <c:v>61148.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00</c:v>
                </c:pt>
                <c:pt idx="2">
                  <c:v/>
                </c:pt>
                <c:pt idx="3">
                  <c:v/>
                </c:pt>
                <c:pt idx="4">
                  <c:v/>
                </c:pt>
                <c:pt idx="5">
                  <c:v/>
                </c:pt>
                <c:pt idx="6">
                  <c:v/>
                </c:pt>
                <c:pt idx="7">
                  <c:v/>
                </c:pt>
                <c:pt idx="8">
                  <c:v/>
                </c:pt>
                <c:pt idx="9">
                  <c:v/>
                </c:pt>
                <c:pt idx="10">
                  <c:v/>
                </c:pt>
                <c:pt idx="11">
                  <c:v/>
                </c:pt>
              </c:strCache>
            </c:strRef>
          </c:cat>
          <c:val>
            <c:numRef>
              <c:f>Sheet1!$F$2:$F$13</c:f>
              <c:numCache>
                <c:formatCode>General</c:formatCode>
                <c:ptCount val="12"/>
                <c:pt idx="0">
                  <c:v>8064.15</c:v>
                </c:pt>
                <c:pt idx="1">
                  <c:v>3641.99</c:v>
                </c:pt>
                <c:pt idx="2">
                  <c:v>11375.34</c:v>
                </c:pt>
                <c:pt idx="4">
                  <c:v>11313.55</c:v>
                </c:pt>
                <c:pt idx="10">
                  <c:v>5394.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1148.7078"/>
          <c:min val="1284.6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6</c:v>
                </c:pt>
                <c:pt idx="1">
                  <c:v>IX 100</c:v>
                </c:pt>
                <c:pt idx="2">
                  <c:v/>
                </c:pt>
                <c:pt idx="3">
                  <c:v>IX 47</c:v>
                </c:pt>
                <c:pt idx="4">
                  <c:v>IX 100</c:v>
                </c:pt>
                <c:pt idx="5">
                  <c:v>IX 167</c:v>
                </c:pt>
                <c:pt idx="6">
                  <c:v/>
                </c:pt>
                <c:pt idx="7">
                  <c:v/>
                </c:pt>
                <c:pt idx="8">
                  <c:v>IX 16</c:v>
                </c:pt>
                <c:pt idx="9">
                  <c:v/>
                </c:pt>
                <c:pt idx="10">
                  <c:v>IX 100</c:v>
                </c:pt>
                <c:pt idx="11">
                  <c:v>IX 100</c:v>
                </c:pt>
                <c:pt idx="12">
                  <c:v/>
                </c:pt>
                <c:pt idx="13">
                  <c:v/>
                </c:pt>
              </c:strCache>
            </c:strRef>
          </c:cat>
          <c:val>
            <c:numRef>
              <c:f>Sheet1!$B$2:$B$15</c:f>
              <c:numCache>
                <c:formatCode>General</c:formatCode>
                <c:ptCount val="14"/>
                <c:pt idx="0">
                  <c:v>2648.61</c:v>
                </c:pt>
                <c:pt idx="1">
                  <c:v>1669.19</c:v>
                </c:pt>
                <c:pt idx="2">
                  <c:v>3141.74</c:v>
                </c:pt>
                <c:pt idx="3">
                  <c:v>12831.91</c:v>
                </c:pt>
                <c:pt idx="4">
                  <c:v>1749.03</c:v>
                </c:pt>
                <c:pt idx="5">
                  <c:v>3697.29</c:v>
                </c:pt>
                <c:pt idx="6">
                  <c:v>30443.43</c:v>
                </c:pt>
                <c:pt idx="7">
                  <c:v>9735.82</c:v>
                </c:pt>
                <c:pt idx="8">
                  <c:v>2172.11</c:v>
                </c:pt>
                <c:pt idx="9">
                  <c:v>6770.53</c:v>
                </c:pt>
                <c:pt idx="10">
                  <c:v>2823.04</c:v>
                </c:pt>
                <c:pt idx="11">
                  <c:v>7086.94</c:v>
                </c:pt>
                <c:pt idx="12">
                  <c:v>14969.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1218.88</a:t>
                    </a:r>
                  </a:p>
                </c:rich>
              </c:tx>
              <c:dLblPos val="l"/>
              <c:showLegendKey val="0"/>
              <c:showVal val="1"/>
              <c:showCatName val="0"/>
              <c:showSerName val="0"/>
              <c:showPercent val="0"/>
              <c:showBubbleSize val="0"/>
            </c:dLbl>
            <c:dLbl>
              <c:idx val="1"/>
              <c:tx>
                <c:rich>
                  <a:bodyPr/>
                  <a:lstStyle/>
                  <a:p>
                    <a:r>
                      <a:t>IX 100</a:t>
                    </a:r>
                  </a:p>
                  <a:p>
                    <a:r>
                      <a:t>1413.0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7</a:t>
                    </a:r>
                  </a:p>
                  <a:p>
                    <a:r>
                      <a:t>5859.0</a:t>
                    </a:r>
                  </a:p>
                </c:rich>
              </c:tx>
              <c:dLblPos val="l"/>
              <c:showLegendKey val="0"/>
              <c:showVal val="1"/>
              <c:showCatName val="0"/>
              <c:showSerName val="0"/>
              <c:showPercent val="0"/>
              <c:showBubbleSize val="0"/>
            </c:dLbl>
            <c:dLbl>
              <c:idx val="4"/>
              <c:tx>
                <c:rich>
                  <a:bodyPr/>
                  <a:lstStyle/>
                  <a:p>
                    <a:r>
                      <a:t>IX 100</a:t>
                    </a:r>
                  </a:p>
                  <a:p>
                    <a:r>
                      <a:t>1607.06</a:t>
                    </a:r>
                  </a:p>
                </c:rich>
              </c:tx>
              <c:dLblPos val="l"/>
              <c:showLegendKey val="0"/>
              <c:showVal val="1"/>
              <c:showCatName val="0"/>
              <c:showSerName val="0"/>
              <c:showPercent val="0"/>
              <c:showBubbleSize val="0"/>
            </c:dLbl>
            <c:dLbl>
              <c:idx val="5"/>
              <c:tx>
                <c:rich>
                  <a:bodyPr/>
                  <a:lstStyle/>
                  <a:p>
                    <a:r>
                      <a:t>IX 167</a:t>
                    </a:r>
                  </a:p>
                  <a:p>
                    <a:r>
                      <a:t>11079.5</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6</a:t>
                    </a:r>
                  </a:p>
                  <a:p>
                    <a:r>
                      <a:t>811.07</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2823.04</a:t>
                    </a:r>
                  </a:p>
                </c:rich>
              </c:tx>
              <c:dLblPos val="l"/>
              <c:showLegendKey val="0"/>
              <c:showVal val="1"/>
              <c:showCatName val="0"/>
              <c:showSerName val="0"/>
              <c:showPercent val="0"/>
              <c:showBubbleSize val="0"/>
            </c:dLbl>
            <c:dLbl>
              <c:idx val="11"/>
              <c:tx>
                <c:rich>
                  <a:bodyPr/>
                  <a:lstStyle/>
                  <a:p>
                    <a:r>
                      <a:t>IX 100</a:t>
                    </a:r>
                  </a:p>
                  <a:p>
                    <a:r>
                      <a:t>1415.5</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6</c:v>
                </c:pt>
                <c:pt idx="1">
                  <c:v>IX 100</c:v>
                </c:pt>
                <c:pt idx="2">
                  <c:v/>
                </c:pt>
                <c:pt idx="3">
                  <c:v>IX 47</c:v>
                </c:pt>
                <c:pt idx="4">
                  <c:v>IX 100</c:v>
                </c:pt>
                <c:pt idx="5">
                  <c:v>IX 167</c:v>
                </c:pt>
                <c:pt idx="6">
                  <c:v/>
                </c:pt>
                <c:pt idx="7">
                  <c:v/>
                </c:pt>
                <c:pt idx="8">
                  <c:v>IX 16</c:v>
                </c:pt>
                <c:pt idx="9">
                  <c:v/>
                </c:pt>
                <c:pt idx="10">
                  <c:v>IX 100</c:v>
                </c:pt>
                <c:pt idx="11">
                  <c:v>IX 100</c:v>
                </c:pt>
                <c:pt idx="12">
                  <c:v/>
                </c:pt>
                <c:pt idx="13">
                  <c:v/>
                </c:pt>
              </c:strCache>
            </c:strRef>
          </c:cat>
          <c:val>
            <c:numRef>
              <c:f>Sheet1!$C$2:$C$15</c:f>
              <c:numCache>
                <c:formatCode>General</c:formatCode>
                <c:ptCount val="14"/>
                <c:pt idx="0">
                  <c:v>1218.88</c:v>
                </c:pt>
                <c:pt idx="1">
                  <c:v>1413.03</c:v>
                </c:pt>
                <c:pt idx="3">
                  <c:v>5859.0</c:v>
                </c:pt>
                <c:pt idx="4">
                  <c:v>1607.06</c:v>
                </c:pt>
                <c:pt idx="5">
                  <c:v>11079.5</c:v>
                </c:pt>
                <c:pt idx="8">
                  <c:v>811.07</c:v>
                </c:pt>
                <c:pt idx="10">
                  <c:v>2823.04</c:v>
                </c:pt>
                <c:pt idx="11">
                  <c:v>14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6</c:v>
                </c:pt>
                <c:pt idx="1">
                  <c:v>IX 100</c:v>
                </c:pt>
                <c:pt idx="2">
                  <c:v/>
                </c:pt>
                <c:pt idx="3">
                  <c:v>IX 47</c:v>
                </c:pt>
                <c:pt idx="4">
                  <c:v>IX 100</c:v>
                </c:pt>
                <c:pt idx="5">
                  <c:v>IX 167</c:v>
                </c:pt>
                <c:pt idx="6">
                  <c:v/>
                </c:pt>
                <c:pt idx="7">
                  <c:v/>
                </c:pt>
                <c:pt idx="8">
                  <c:v>IX 16</c:v>
                </c:pt>
                <c:pt idx="9">
                  <c:v/>
                </c:pt>
                <c:pt idx="10">
                  <c:v>IX 100</c:v>
                </c:pt>
                <c:pt idx="11">
                  <c:v>IX 100</c:v>
                </c:pt>
                <c:pt idx="12">
                  <c:v/>
                </c:pt>
                <c:pt idx="13">
                  <c:v/>
                </c:pt>
              </c:strCache>
            </c:strRef>
          </c:cat>
          <c:val>
            <c:numRef>
              <c:f>Sheet1!$D$2:$D$15</c:f>
              <c:numCache>
                <c:formatCode>General</c:formatCode>
                <c:ptCount val="14"/>
                <c:pt idx="0">
                  <c:v>3377.13</c:v>
                </c:pt>
                <c:pt idx="1">
                  <c:v>1543.81</c:v>
                </c:pt>
                <c:pt idx="2">
                  <c:v>2520.38</c:v>
                </c:pt>
                <c:pt idx="3">
                  <c:v>9694.36</c:v>
                </c:pt>
                <c:pt idx="4">
                  <c:v>656.93</c:v>
                </c:pt>
                <c:pt idx="7">
                  <c:v>8838.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6</c:v>
                </c:pt>
                <c:pt idx="1">
                  <c:v>IX 100</c:v>
                </c:pt>
                <c:pt idx="2">
                  <c:v/>
                </c:pt>
                <c:pt idx="3">
                  <c:v>IX 47</c:v>
                </c:pt>
                <c:pt idx="4">
                  <c:v>IX 100</c:v>
                </c:pt>
                <c:pt idx="5">
                  <c:v>IX 167</c:v>
                </c:pt>
                <c:pt idx="6">
                  <c:v/>
                </c:pt>
                <c:pt idx="7">
                  <c:v/>
                </c:pt>
                <c:pt idx="8">
                  <c:v>IX 16</c:v>
                </c:pt>
                <c:pt idx="9">
                  <c:v/>
                </c:pt>
                <c:pt idx="10">
                  <c:v>IX 100</c:v>
                </c:pt>
                <c:pt idx="11">
                  <c:v>IX 100</c:v>
                </c:pt>
                <c:pt idx="12">
                  <c:v/>
                </c:pt>
                <c:pt idx="13">
                  <c:v/>
                </c:pt>
              </c:strCache>
            </c:strRef>
          </c:cat>
          <c:val>
            <c:numRef>
              <c:f>Sheet1!$E$2:$E$15</c:f>
              <c:numCache>
                <c:formatCode>General</c:formatCode>
                <c:ptCount val="14"/>
                <c:pt idx="0">
                  <c:v>12566.54</c:v>
                </c:pt>
                <c:pt idx="1">
                  <c:v>7590.45</c:v>
                </c:pt>
                <c:pt idx="2">
                  <c:v>2595.38</c:v>
                </c:pt>
                <c:pt idx="3">
                  <c:v>13280.08</c:v>
                </c:pt>
                <c:pt idx="4">
                  <c:v>2720.06</c:v>
                </c:pt>
                <c:pt idx="5">
                  <c:v>3216.7</c:v>
                </c:pt>
                <c:pt idx="6">
                  <c:v>49849.8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36</c:v>
                </c:pt>
                <c:pt idx="1">
                  <c:v>IX 100</c:v>
                </c:pt>
                <c:pt idx="2">
                  <c:v/>
                </c:pt>
                <c:pt idx="3">
                  <c:v>IX 47</c:v>
                </c:pt>
                <c:pt idx="4">
                  <c:v>IX 100</c:v>
                </c:pt>
                <c:pt idx="5">
                  <c:v>IX 167</c:v>
                </c:pt>
                <c:pt idx="6">
                  <c:v/>
                </c:pt>
                <c:pt idx="7">
                  <c:v/>
                </c:pt>
                <c:pt idx="8">
                  <c:v>IX 16</c:v>
                </c:pt>
                <c:pt idx="9">
                  <c:v/>
                </c:pt>
                <c:pt idx="10">
                  <c:v>IX 100</c:v>
                </c:pt>
                <c:pt idx="11">
                  <c:v>IX 100</c:v>
                </c:pt>
                <c:pt idx="12">
                  <c:v/>
                </c:pt>
                <c:pt idx="13">
                  <c:v/>
                </c:pt>
              </c:strCache>
            </c:strRef>
          </c:cat>
          <c:val>
            <c:numRef>
              <c:f>Sheet1!$F$2:$F$15</c:f>
              <c:numCache>
                <c:formatCode>General</c:formatCode>
                <c:ptCount val="14"/>
                <c:pt idx="0">
                  <c:v>7857.06</c:v>
                </c:pt>
                <c:pt idx="1">
                  <c:v>6670.32</c:v>
                </c:pt>
                <c:pt idx="2">
                  <c:v>11614.13</c:v>
                </c:pt>
                <c:pt idx="3">
                  <c:v>12490.44</c:v>
                </c:pt>
                <c:pt idx="4">
                  <c:v>4355.41</c:v>
                </c:pt>
                <c:pt idx="5">
                  <c:v>6624.74</c:v>
                </c:pt>
                <c:pt idx="8">
                  <c:v>4937.41</c:v>
                </c:pt>
                <c:pt idx="9">
                  <c:v>6499.4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850.340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7</c:v>
                </c:pt>
                <c:pt idx="1">
                  <c:v>IX 100</c:v>
                </c:pt>
                <c:pt idx="2">
                  <c:v/>
                </c:pt>
                <c:pt idx="3">
                  <c:v>IX 50</c:v>
                </c:pt>
                <c:pt idx="4">
                  <c:v>IX 100</c:v>
                </c:pt>
                <c:pt idx="5">
                  <c:v>IX 163</c:v>
                </c:pt>
                <c:pt idx="6">
                  <c:v/>
                </c:pt>
                <c:pt idx="7">
                  <c:v/>
                </c:pt>
                <c:pt idx="8">
                  <c:v>IX 15</c:v>
                </c:pt>
                <c:pt idx="9">
                  <c:v/>
                </c:pt>
                <c:pt idx="10">
                  <c:v>IX 100</c:v>
                </c:pt>
                <c:pt idx="11">
                  <c:v/>
                </c:pt>
                <c:pt idx="12">
                  <c:v/>
                </c:pt>
              </c:strCache>
            </c:strRef>
          </c:cat>
          <c:val>
            <c:numRef>
              <c:f>Sheet1!$B$2:$B$14</c:f>
              <c:numCache>
                <c:formatCode>General</c:formatCode>
                <c:ptCount val="13"/>
                <c:pt idx="0">
                  <c:v>2721.58</c:v>
                </c:pt>
                <c:pt idx="1">
                  <c:v>1703.94</c:v>
                </c:pt>
                <c:pt idx="2">
                  <c:v>3123.74</c:v>
                </c:pt>
                <c:pt idx="3">
                  <c:v>12870.86</c:v>
                </c:pt>
                <c:pt idx="4">
                  <c:v>1800.86</c:v>
                </c:pt>
                <c:pt idx="5">
                  <c:v>3765.74</c:v>
                </c:pt>
                <c:pt idx="6">
                  <c:v>33802.58</c:v>
                </c:pt>
                <c:pt idx="7">
                  <c:v>9804.89</c:v>
                </c:pt>
                <c:pt idx="8">
                  <c:v>2242.37</c:v>
                </c:pt>
                <c:pt idx="9">
                  <c:v>6971.58</c:v>
                </c:pt>
                <c:pt idx="10">
                  <c:v>2905.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1250.39</a:t>
                    </a:r>
                  </a:p>
                </c:rich>
              </c:tx>
              <c:dLblPos val="l"/>
              <c:showLegendKey val="0"/>
              <c:showVal val="1"/>
              <c:showCatName val="0"/>
              <c:showSerName val="0"/>
              <c:showPercent val="0"/>
              <c:showBubbleSize val="0"/>
            </c:dLbl>
            <c:dLbl>
              <c:idx val="1"/>
              <c:tx>
                <c:rich>
                  <a:bodyPr/>
                  <a:lstStyle/>
                  <a:p>
                    <a:r>
                      <a:t>IX 100</a:t>
                    </a:r>
                  </a:p>
                  <a:p>
                    <a:r>
                      <a:t>1449.0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50</a:t>
                    </a:r>
                  </a:p>
                  <a:p>
                    <a:r>
                      <a:t>6261.37</a:t>
                    </a:r>
                  </a:p>
                </c:rich>
              </c:tx>
              <c:dLblPos val="l"/>
              <c:showLegendKey val="0"/>
              <c:showVal val="1"/>
              <c:showCatName val="0"/>
              <c:showSerName val="0"/>
              <c:showPercent val="0"/>
              <c:showBubbleSize val="0"/>
            </c:dLbl>
            <c:dLbl>
              <c:idx val="4"/>
              <c:tx>
                <c:rich>
                  <a:bodyPr/>
                  <a:lstStyle/>
                  <a:p>
                    <a:r>
                      <a:t>IX 100</a:t>
                    </a:r>
                  </a:p>
                  <a:p>
                    <a:r>
                      <a:t>1652.34</a:t>
                    </a:r>
                  </a:p>
                </c:rich>
              </c:tx>
              <c:dLblPos val="l"/>
              <c:showLegendKey val="0"/>
              <c:showVal val="1"/>
              <c:showCatName val="0"/>
              <c:showSerName val="0"/>
              <c:showPercent val="0"/>
              <c:showBubbleSize val="0"/>
            </c:dLbl>
            <c:dLbl>
              <c:idx val="5"/>
              <c:tx>
                <c:rich>
                  <a:bodyPr/>
                  <a:lstStyle/>
                  <a:p>
                    <a:r>
                      <a:t>IX 163</a:t>
                    </a:r>
                  </a:p>
                  <a:p>
                    <a:r>
                      <a:t>11079.5</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5</a:t>
                    </a:r>
                  </a:p>
                  <a:p>
                    <a:r>
                      <a:t>808.27</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2905.99</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7</c:v>
                </c:pt>
                <c:pt idx="1">
                  <c:v>IX 100</c:v>
                </c:pt>
                <c:pt idx="2">
                  <c:v/>
                </c:pt>
                <c:pt idx="3">
                  <c:v>IX 50</c:v>
                </c:pt>
                <c:pt idx="4">
                  <c:v>IX 100</c:v>
                </c:pt>
                <c:pt idx="5">
                  <c:v>IX 163</c:v>
                </c:pt>
                <c:pt idx="6">
                  <c:v/>
                </c:pt>
                <c:pt idx="7">
                  <c:v/>
                </c:pt>
                <c:pt idx="8">
                  <c:v>IX 15</c:v>
                </c:pt>
                <c:pt idx="9">
                  <c:v/>
                </c:pt>
                <c:pt idx="10">
                  <c:v>IX 100</c:v>
                </c:pt>
                <c:pt idx="11">
                  <c:v/>
                </c:pt>
                <c:pt idx="12">
                  <c:v/>
                </c:pt>
              </c:strCache>
            </c:strRef>
          </c:cat>
          <c:val>
            <c:numRef>
              <c:f>Sheet1!$C$2:$C$14</c:f>
              <c:numCache>
                <c:formatCode>General</c:formatCode>
                <c:ptCount val="13"/>
                <c:pt idx="0">
                  <c:v>1250.39</c:v>
                </c:pt>
                <c:pt idx="1">
                  <c:v>1449.09</c:v>
                </c:pt>
                <c:pt idx="3">
                  <c:v>6261.37</c:v>
                </c:pt>
                <c:pt idx="4">
                  <c:v>1652.34</c:v>
                </c:pt>
                <c:pt idx="5">
                  <c:v>11079.5</c:v>
                </c:pt>
                <c:pt idx="8">
                  <c:v>808.27</c:v>
                </c:pt>
                <c:pt idx="10">
                  <c:v>2905.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7</c:v>
                </c:pt>
                <c:pt idx="1">
                  <c:v>IX 100</c:v>
                </c:pt>
                <c:pt idx="2">
                  <c:v/>
                </c:pt>
                <c:pt idx="3">
                  <c:v>IX 50</c:v>
                </c:pt>
                <c:pt idx="4">
                  <c:v>IX 100</c:v>
                </c:pt>
                <c:pt idx="5">
                  <c:v>IX 163</c:v>
                </c:pt>
                <c:pt idx="6">
                  <c:v/>
                </c:pt>
                <c:pt idx="7">
                  <c:v/>
                </c:pt>
                <c:pt idx="8">
                  <c:v>IX 15</c:v>
                </c:pt>
                <c:pt idx="9">
                  <c:v/>
                </c:pt>
                <c:pt idx="10">
                  <c:v>IX 100</c:v>
                </c:pt>
                <c:pt idx="11">
                  <c:v/>
                </c:pt>
                <c:pt idx="12">
                  <c:v/>
                </c:pt>
              </c:strCache>
            </c:strRef>
          </c:cat>
          <c:val>
            <c:numRef>
              <c:f>Sheet1!$D$2:$D$14</c:f>
              <c:numCache>
                <c:formatCode>General</c:formatCode>
                <c:ptCount val="13"/>
                <c:pt idx="0">
                  <c:v>3370.44</c:v>
                </c:pt>
                <c:pt idx="1">
                  <c:v>1571.49</c:v>
                </c:pt>
                <c:pt idx="2">
                  <c:v>2490.48</c:v>
                </c:pt>
                <c:pt idx="3">
                  <c:v>9825.57</c:v>
                </c:pt>
                <c:pt idx="7">
                  <c:v>8759.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7</c:v>
                </c:pt>
                <c:pt idx="1">
                  <c:v>IX 100</c:v>
                </c:pt>
                <c:pt idx="2">
                  <c:v/>
                </c:pt>
                <c:pt idx="3">
                  <c:v>IX 50</c:v>
                </c:pt>
                <c:pt idx="4">
                  <c:v>IX 100</c:v>
                </c:pt>
                <c:pt idx="5">
                  <c:v>IX 163</c:v>
                </c:pt>
                <c:pt idx="6">
                  <c:v/>
                </c:pt>
                <c:pt idx="7">
                  <c:v/>
                </c:pt>
                <c:pt idx="8">
                  <c:v>IX 15</c:v>
                </c:pt>
                <c:pt idx="9">
                  <c:v/>
                </c:pt>
                <c:pt idx="10">
                  <c:v>IX 100</c:v>
                </c:pt>
                <c:pt idx="11">
                  <c:v/>
                </c:pt>
                <c:pt idx="12">
                  <c:v/>
                </c:pt>
              </c:strCache>
            </c:strRef>
          </c:cat>
          <c:val>
            <c:numRef>
              <c:f>Sheet1!$E$2:$E$14</c:f>
              <c:numCache>
                <c:formatCode>General</c:formatCode>
                <c:ptCount val="13"/>
                <c:pt idx="0">
                  <c:v>12532.18</c:v>
                </c:pt>
                <c:pt idx="1">
                  <c:v>7405.62</c:v>
                </c:pt>
                <c:pt idx="2">
                  <c:v>2608.07</c:v>
                </c:pt>
                <c:pt idx="3">
                  <c:v>12672.55</c:v>
                </c:pt>
                <c:pt idx="4">
                  <c:v>2690.62</c:v>
                </c:pt>
                <c:pt idx="5">
                  <c:v>3210.89</c:v>
                </c:pt>
                <c:pt idx="6">
                  <c:v>51686.1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37</c:v>
                </c:pt>
                <c:pt idx="1">
                  <c:v>IX 100</c:v>
                </c:pt>
                <c:pt idx="2">
                  <c:v/>
                </c:pt>
                <c:pt idx="3">
                  <c:v>IX 50</c:v>
                </c:pt>
                <c:pt idx="4">
                  <c:v>IX 100</c:v>
                </c:pt>
                <c:pt idx="5">
                  <c:v>IX 163</c:v>
                </c:pt>
                <c:pt idx="6">
                  <c:v/>
                </c:pt>
                <c:pt idx="7">
                  <c:v/>
                </c:pt>
                <c:pt idx="8">
                  <c:v>IX 15</c:v>
                </c:pt>
                <c:pt idx="9">
                  <c:v/>
                </c:pt>
                <c:pt idx="10">
                  <c:v>IX 100</c:v>
                </c:pt>
                <c:pt idx="11">
                  <c:v/>
                </c:pt>
                <c:pt idx="12">
                  <c:v/>
                </c:pt>
              </c:strCache>
            </c:strRef>
          </c:cat>
          <c:val>
            <c:numRef>
              <c:f>Sheet1!$F$2:$F$14</c:f>
              <c:numCache>
                <c:formatCode>General</c:formatCode>
                <c:ptCount val="13"/>
                <c:pt idx="0">
                  <c:v>7723.31</c:v>
                </c:pt>
                <c:pt idx="1">
                  <c:v>6825.48</c:v>
                </c:pt>
                <c:pt idx="2">
                  <c:v>11788.54</c:v>
                </c:pt>
                <c:pt idx="3">
                  <c:v>12576.77</c:v>
                </c:pt>
                <c:pt idx="4">
                  <c:v>4470.32</c:v>
                </c:pt>
                <c:pt idx="5">
                  <c:v>6797.91</c:v>
                </c:pt>
                <c:pt idx="8">
                  <c:v>5257.97</c:v>
                </c:pt>
                <c:pt idx="9">
                  <c:v>6641.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86.648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0</c:v>
                </c:pt>
                <c:pt idx="5">
                  <c:v/>
                </c:pt>
                <c:pt idx="6">
                  <c:v>IX 100</c:v>
                </c:pt>
                <c:pt idx="7">
                  <c:v/>
                </c:pt>
                <c:pt idx="8">
                  <c:v/>
                </c:pt>
                <c:pt idx="9">
                  <c:v/>
                </c:pt>
                <c:pt idx="10">
                  <c:v>IX 100</c:v>
                </c:pt>
                <c:pt idx="11">
                  <c:v/>
                </c:pt>
              </c:strCache>
            </c:strRef>
          </c:cat>
          <c:val>
            <c:numRef>
              <c:f>Sheet1!$B$2:$B$13</c:f>
              <c:numCache>
                <c:formatCode>General</c:formatCode>
                <c:ptCount val="12"/>
                <c:pt idx="0">
                  <c:v>4829.91</c:v>
                </c:pt>
                <c:pt idx="1">
                  <c:v>13315.27</c:v>
                </c:pt>
                <c:pt idx="2">
                  <c:v>4477.9</c:v>
                </c:pt>
                <c:pt idx="3">
                  <c:v>2076.16</c:v>
                </c:pt>
                <c:pt idx="4">
                  <c:v>4342.32</c:v>
                </c:pt>
                <c:pt idx="5">
                  <c:v>37224.85</c:v>
                </c:pt>
                <c:pt idx="6">
                  <c:v>2191.25</c:v>
                </c:pt>
                <c:pt idx="7">
                  <c:v>10425.96</c:v>
                </c:pt>
                <c:pt idx="8">
                  <c:v>2931.03</c:v>
                </c:pt>
                <c:pt idx="9">
                  <c:v>8041.06</c:v>
                </c:pt>
                <c:pt idx="10">
                  <c:v>5995.1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a:t>
                    </a:r>
                  </a:p>
                  <a:p>
                    <a:r>
                      <a:t>1338.66</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478.86</a:t>
                    </a:r>
                  </a:p>
                </c:rich>
              </c:tx>
              <c:dLblPos val="l"/>
              <c:showLegendKey val="0"/>
              <c:showVal val="1"/>
              <c:showCatName val="0"/>
              <c:showSerName val="0"/>
              <c:showPercent val="0"/>
              <c:showBubbleSize val="0"/>
            </c:dLbl>
            <c:dLbl>
              <c:idx val="4"/>
              <c:tx>
                <c:rich>
                  <a:bodyPr/>
                  <a:lstStyle/>
                  <a:p>
                    <a:r>
                      <a:t>IX 160</a:t>
                    </a:r>
                  </a:p>
                  <a:p>
                    <a:r>
                      <a:t>11079.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910.72</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5995.11</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0</c:v>
                </c:pt>
                <c:pt idx="5">
                  <c:v/>
                </c:pt>
                <c:pt idx="6">
                  <c:v>IX 100</c:v>
                </c:pt>
                <c:pt idx="7">
                  <c:v/>
                </c:pt>
                <c:pt idx="8">
                  <c:v/>
                </c:pt>
                <c:pt idx="9">
                  <c:v/>
                </c:pt>
                <c:pt idx="10">
                  <c:v>IX 100</c:v>
                </c:pt>
                <c:pt idx="11">
                  <c:v/>
                </c:pt>
              </c:strCache>
            </c:strRef>
          </c:cat>
          <c:val>
            <c:numRef>
              <c:f>Sheet1!$C$2:$C$13</c:f>
              <c:numCache>
                <c:formatCode>General</c:formatCode>
                <c:ptCount val="12"/>
                <c:pt idx="0">
                  <c:v>1338.66</c:v>
                </c:pt>
                <c:pt idx="3">
                  <c:v>1478.86</c:v>
                </c:pt>
                <c:pt idx="4">
                  <c:v>11079.5</c:v>
                </c:pt>
                <c:pt idx="6">
                  <c:v>1910.72</c:v>
                </c:pt>
                <c:pt idx="10">
                  <c:v>5995.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0</c:v>
                </c:pt>
                <c:pt idx="5">
                  <c:v/>
                </c:pt>
                <c:pt idx="6">
                  <c:v>IX 100</c:v>
                </c:pt>
                <c:pt idx="7">
                  <c:v/>
                </c:pt>
                <c:pt idx="8">
                  <c:v/>
                </c:pt>
                <c:pt idx="9">
                  <c:v/>
                </c:pt>
                <c:pt idx="10">
                  <c:v>IX 100</c:v>
                </c:pt>
                <c:pt idx="11">
                  <c:v/>
                </c:pt>
              </c:strCache>
            </c:strRef>
          </c:cat>
          <c:val>
            <c:numRef>
              <c:f>Sheet1!$D$2:$D$13</c:f>
              <c:numCache>
                <c:formatCode>General</c:formatCode>
                <c:ptCount val="12"/>
                <c:pt idx="0">
                  <c:v>12586.15</c:v>
                </c:pt>
                <c:pt idx="1">
                  <c:v>12840.98</c:v>
                </c:pt>
                <c:pt idx="2">
                  <c:v>2613.65</c:v>
                </c:pt>
                <c:pt idx="3">
                  <c:v>7407.64</c:v>
                </c:pt>
                <c:pt idx="4">
                  <c:v>3251.36</c:v>
                </c:pt>
                <c:pt idx="5">
                  <c:v>52262.69</c:v>
                </c:pt>
                <c:pt idx="6">
                  <c:v>2729.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eiersdorf</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0</c:v>
                </c:pt>
                <c:pt idx="5">
                  <c:v/>
                </c:pt>
                <c:pt idx="6">
                  <c:v>IX 100</c:v>
                </c:pt>
                <c:pt idx="7">
                  <c:v/>
                </c:pt>
                <c:pt idx="8">
                  <c:v/>
                </c:pt>
                <c:pt idx="9">
                  <c:v/>
                </c:pt>
                <c:pt idx="10">
                  <c:v>IX 100</c:v>
                </c:pt>
                <c:pt idx="11">
                  <c:v/>
                </c:pt>
              </c:strCache>
            </c:strRef>
          </c:cat>
          <c:val>
            <c:numRef>
              <c:f>Sheet1!$E$2:$E$13</c:f>
              <c:numCache>
                <c:formatCode>General</c:formatCode>
                <c:ptCount val="12"/>
                <c:pt idx="0">
                  <c:v>5081.39</c:v>
                </c:pt>
                <c:pt idx="1">
                  <c:v>11252.09</c:v>
                </c:pt>
                <c:pt idx="2">
                  <c:v>4716.26</c:v>
                </c:pt>
                <c:pt idx="3">
                  <c:v>1706.91</c:v>
                </c:pt>
                <c:pt idx="7">
                  <c:v>9360.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0</c:v>
                </c:pt>
                <c:pt idx="5">
                  <c:v/>
                </c:pt>
                <c:pt idx="6">
                  <c:v>IX 100</c:v>
                </c:pt>
                <c:pt idx="7">
                  <c:v/>
                </c:pt>
                <c:pt idx="8">
                  <c:v/>
                </c:pt>
                <c:pt idx="9">
                  <c:v/>
                </c:pt>
                <c:pt idx="10">
                  <c:v>IX 100</c:v>
                </c:pt>
                <c:pt idx="11">
                  <c:v/>
                </c:pt>
              </c:strCache>
            </c:strRef>
          </c:cat>
          <c:val>
            <c:numRef>
              <c:f>Sheet1!$F$2:$F$13</c:f>
              <c:numCache>
                <c:formatCode>General</c:formatCode>
                <c:ptCount val="12"/>
                <c:pt idx="0">
                  <c:v>8379.71</c:v>
                </c:pt>
                <c:pt idx="1">
                  <c:v>12628.12</c:v>
                </c:pt>
                <c:pt idx="2">
                  <c:v>11795.75</c:v>
                </c:pt>
                <c:pt idx="3">
                  <c:v>6648.25</c:v>
                </c:pt>
                <c:pt idx="4">
                  <c:v>6945.67</c:v>
                </c:pt>
                <c:pt idx="6">
                  <c:v>4304.04</c:v>
                </c:pt>
                <c:pt idx="8">
                  <c:v>5221.98</c:v>
                </c:pt>
                <c:pt idx="9">
                  <c:v>6897.4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63.188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2</c:v>
                </c:pt>
                <c:pt idx="1">
                  <c:v>IX 85</c:v>
                </c:pt>
                <c:pt idx="2">
                  <c:v/>
                </c:pt>
                <c:pt idx="3">
                  <c:v>IX 100</c:v>
                </c:pt>
                <c:pt idx="4">
                  <c:v>IX 100</c:v>
                </c:pt>
                <c:pt idx="5">
                  <c:v/>
                </c:pt>
                <c:pt idx="6">
                  <c:v/>
                </c:pt>
                <c:pt idx="7">
                  <c:v/>
                </c:pt>
                <c:pt idx="8">
                  <c:v/>
                </c:pt>
              </c:strCache>
            </c:strRef>
          </c:cat>
          <c:val>
            <c:numRef>
              <c:f>Sheet1!$B$2:$B$10</c:f>
              <c:numCache>
                <c:formatCode>General</c:formatCode>
                <c:ptCount val="9"/>
                <c:pt idx="0">
                  <c:v>1373.36</c:v>
                </c:pt>
                <c:pt idx="1">
                  <c:v>1443.93</c:v>
                </c:pt>
                <c:pt idx="2">
                  <c:v>1802.64</c:v>
                </c:pt>
                <c:pt idx="3">
                  <c:v>1635.95</c:v>
                </c:pt>
                <c:pt idx="4">
                  <c:v>816.28</c:v>
                </c:pt>
                <c:pt idx="5">
                  <c:v>12933.64</c:v>
                </c:pt>
                <c:pt idx="6">
                  <c:v>6027.0</c:v>
                </c:pt>
                <c:pt idx="7">
                  <c:v>18750.0</c:v>
                </c:pt>
                <c:pt idx="8">
                  <c:v>2339.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2</a:t>
                    </a:r>
                  </a:p>
                  <a:p>
                    <a:r>
                      <a:t>1107.68</a:t>
                    </a:r>
                  </a:p>
                </c:rich>
              </c:tx>
              <c:dLblPos val="l"/>
              <c:showLegendKey val="0"/>
              <c:showVal val="1"/>
              <c:showCatName val="0"/>
              <c:showSerName val="0"/>
              <c:showPercent val="0"/>
              <c:showBubbleSize val="0"/>
            </c:dLbl>
            <c:dLbl>
              <c:idx val="1"/>
              <c:tx>
                <c:rich>
                  <a:bodyPr/>
                  <a:lstStyle/>
                  <a:p>
                    <a:r>
                      <a:t>IX 85</a:t>
                    </a:r>
                  </a:p>
                  <a:p>
                    <a:r>
                      <a:t>1268.3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715.29</a:t>
                    </a:r>
                  </a:p>
                </c:rich>
              </c:tx>
              <c:dLblPos val="l"/>
              <c:showLegendKey val="0"/>
              <c:showVal val="1"/>
              <c:showCatName val="0"/>
              <c:showSerName val="0"/>
              <c:showPercent val="0"/>
              <c:showBubbleSize val="0"/>
            </c:dLbl>
            <c:dLbl>
              <c:idx val="4"/>
              <c:tx>
                <c:rich>
                  <a:bodyPr/>
                  <a:lstStyle/>
                  <a:p>
                    <a:r>
                      <a:t>IX 100</a:t>
                    </a:r>
                  </a:p>
                  <a:p>
                    <a:r>
                      <a:t>953.3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2</c:v>
                </c:pt>
                <c:pt idx="1">
                  <c:v>IX 85</c:v>
                </c:pt>
                <c:pt idx="2">
                  <c:v/>
                </c:pt>
                <c:pt idx="3">
                  <c:v>IX 100</c:v>
                </c:pt>
                <c:pt idx="4">
                  <c:v>IX 100</c:v>
                </c:pt>
                <c:pt idx="5">
                  <c:v/>
                </c:pt>
                <c:pt idx="6">
                  <c:v/>
                </c:pt>
                <c:pt idx="7">
                  <c:v/>
                </c:pt>
                <c:pt idx="8">
                  <c:v/>
                </c:pt>
              </c:strCache>
            </c:strRef>
          </c:cat>
          <c:val>
            <c:numRef>
              <c:f>Sheet1!$C$2:$C$10</c:f>
              <c:numCache>
                <c:formatCode>General</c:formatCode>
                <c:ptCount val="9"/>
                <c:pt idx="0">
                  <c:v>1107.68</c:v>
                </c:pt>
                <c:pt idx="1">
                  <c:v>1268.31</c:v>
                </c:pt>
                <c:pt idx="3">
                  <c:v>1715.29</c:v>
                </c:pt>
                <c:pt idx="4">
                  <c:v>95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2</c:v>
                </c:pt>
                <c:pt idx="1">
                  <c:v>IX 85</c:v>
                </c:pt>
                <c:pt idx="2">
                  <c:v/>
                </c:pt>
                <c:pt idx="3">
                  <c:v>IX 100</c:v>
                </c:pt>
                <c:pt idx="4">
                  <c:v>IX 100</c:v>
                </c:pt>
                <c:pt idx="5">
                  <c:v/>
                </c:pt>
                <c:pt idx="6">
                  <c:v/>
                </c:pt>
                <c:pt idx="7">
                  <c:v/>
                </c:pt>
                <c:pt idx="8">
                  <c:v/>
                </c:pt>
              </c:strCache>
            </c:strRef>
          </c:cat>
          <c:val>
            <c:numRef>
              <c:f>Sheet1!$D$2:$D$10</c:f>
              <c:numCache>
                <c:formatCode>General</c:formatCode>
                <c:ptCount val="9"/>
                <c:pt idx="0">
                  <c:v>2635.83</c:v>
                </c:pt>
                <c:pt idx="1">
                  <c:v>1496.24</c:v>
                </c:pt>
                <c:pt idx="2">
                  <c:v>1738.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2</c:v>
                </c:pt>
                <c:pt idx="1">
                  <c:v>IX 85</c:v>
                </c:pt>
                <c:pt idx="2">
                  <c:v/>
                </c:pt>
                <c:pt idx="3">
                  <c:v>IX 100</c:v>
                </c:pt>
                <c:pt idx="4">
                  <c:v>IX 100</c:v>
                </c:pt>
                <c:pt idx="5">
                  <c:v/>
                </c:pt>
                <c:pt idx="6">
                  <c:v/>
                </c:pt>
                <c:pt idx="7">
                  <c:v/>
                </c:pt>
                <c:pt idx="8">
                  <c:v/>
                </c:pt>
              </c:strCache>
            </c:strRef>
          </c:cat>
          <c:val>
            <c:numRef>
              <c:f>Sheet1!$E$2:$E$10</c:f>
              <c:numCache>
                <c:formatCode>General</c:formatCode>
                <c:ptCount val="9"/>
                <c:pt idx="0">
                  <c:v>9003.47</c:v>
                </c:pt>
                <c:pt idx="2">
                  <c:v>1957.33</c:v>
                </c:pt>
                <c:pt idx="5">
                  <c:v>12933.6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2</c:v>
                </c:pt>
                <c:pt idx="1">
                  <c:v>IX 85</c:v>
                </c:pt>
                <c:pt idx="2">
                  <c:v/>
                </c:pt>
                <c:pt idx="3">
                  <c:v>IX 100</c:v>
                </c:pt>
                <c:pt idx="4">
                  <c:v>IX 100</c:v>
                </c:pt>
                <c:pt idx="5">
                  <c:v/>
                </c:pt>
                <c:pt idx="6">
                  <c:v/>
                </c:pt>
                <c:pt idx="7">
                  <c:v/>
                </c:pt>
                <c:pt idx="8">
                  <c:v/>
                </c:pt>
              </c:strCache>
            </c:strRef>
          </c:cat>
          <c:val>
            <c:numRef>
              <c:f>Sheet1!$F$2:$F$10</c:f>
              <c:numCache>
                <c:formatCode>General</c:formatCode>
                <c:ptCount val="9"/>
                <c:pt idx="1">
                  <c:v>5440.0</c:v>
                </c:pt>
                <c:pt idx="6">
                  <c:v>6027.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0.5"/>
          <c:min val="815.78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4</c:v>
                </c:pt>
                <c:pt idx="1">
                  <c:v>IX 100</c:v>
                </c:pt>
                <c:pt idx="2">
                  <c:v/>
                </c:pt>
                <c:pt idx="3">
                  <c:v>IX 100</c:v>
                </c:pt>
                <c:pt idx="4">
                  <c:v>IX 47</c:v>
                </c:pt>
                <c:pt idx="5">
                  <c:v/>
                </c:pt>
                <c:pt idx="6">
                  <c:v/>
                </c:pt>
                <c:pt idx="7">
                  <c:v>IX 100</c:v>
                </c:pt>
                <c:pt idx="8">
                  <c:v/>
                </c:pt>
                <c:pt idx="9">
                  <c:v>IX 100</c:v>
                </c:pt>
                <c:pt idx="10">
                  <c:v/>
                </c:pt>
                <c:pt idx="11">
                  <c:v/>
                </c:pt>
              </c:strCache>
            </c:strRef>
          </c:cat>
          <c:val>
            <c:numRef>
              <c:f>Sheet1!$B$2:$B$13</c:f>
              <c:numCache>
                <c:formatCode>General</c:formatCode>
                <c:ptCount val="12"/>
                <c:pt idx="0">
                  <c:v>1845.3</c:v>
                </c:pt>
                <c:pt idx="1">
                  <c:v>1568.18</c:v>
                </c:pt>
                <c:pt idx="2">
                  <c:v>1958.31</c:v>
                </c:pt>
                <c:pt idx="3">
                  <c:v>1669.06</c:v>
                </c:pt>
                <c:pt idx="4">
                  <c:v>12153.21</c:v>
                </c:pt>
                <c:pt idx="5">
                  <c:v>2810.34</c:v>
                </c:pt>
                <c:pt idx="6">
                  <c:v>27179.17</c:v>
                </c:pt>
                <c:pt idx="7">
                  <c:v>1471.33</c:v>
                </c:pt>
                <c:pt idx="8">
                  <c:v>6628.09</c:v>
                </c:pt>
                <c:pt idx="9">
                  <c:v>2807.32</c:v>
                </c:pt>
                <c:pt idx="10">
                  <c:v>6577.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1230.34</a:t>
                    </a:r>
                  </a:p>
                </c:rich>
              </c:tx>
              <c:dLblPos val="l"/>
              <c:showLegendKey val="0"/>
              <c:showVal val="1"/>
              <c:showCatName val="0"/>
              <c:showSerName val="0"/>
              <c:showPercent val="0"/>
              <c:showBubbleSize val="0"/>
            </c:dLbl>
            <c:dLbl>
              <c:idx val="1"/>
              <c:tx>
                <c:rich>
                  <a:bodyPr/>
                  <a:lstStyle/>
                  <a:p>
                    <a:r>
                      <a:t>IX 100</a:t>
                    </a:r>
                  </a:p>
                  <a:p>
                    <a:r>
                      <a:t>1446.4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582.46</a:t>
                    </a:r>
                  </a:p>
                </c:rich>
              </c:tx>
              <c:dLblPos val="l"/>
              <c:showLegendKey val="0"/>
              <c:showVal val="1"/>
              <c:showCatName val="0"/>
              <c:showSerName val="0"/>
              <c:showPercent val="0"/>
              <c:showBubbleSize val="0"/>
            </c:dLbl>
            <c:dLbl>
              <c:idx val="4"/>
              <c:tx>
                <c:rich>
                  <a:bodyPr/>
                  <a:lstStyle/>
                  <a:p>
                    <a:r>
                      <a:t>IX 47</a:t>
                    </a:r>
                  </a:p>
                  <a:p>
                    <a:r>
                      <a:t>6153.6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804.4</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IX 100</a:t>
                    </a:r>
                  </a:p>
                  <a:p>
                    <a:r>
                      <a:t>2807.32</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4</c:v>
                </c:pt>
                <c:pt idx="1">
                  <c:v>IX 100</c:v>
                </c:pt>
                <c:pt idx="2">
                  <c:v/>
                </c:pt>
                <c:pt idx="3">
                  <c:v>IX 100</c:v>
                </c:pt>
                <c:pt idx="4">
                  <c:v>IX 47</c:v>
                </c:pt>
                <c:pt idx="5">
                  <c:v/>
                </c:pt>
                <c:pt idx="6">
                  <c:v/>
                </c:pt>
                <c:pt idx="7">
                  <c:v>IX 100</c:v>
                </c:pt>
                <c:pt idx="8">
                  <c:v/>
                </c:pt>
                <c:pt idx="9">
                  <c:v>IX 100</c:v>
                </c:pt>
                <c:pt idx="10">
                  <c:v/>
                </c:pt>
                <c:pt idx="11">
                  <c:v/>
                </c:pt>
              </c:strCache>
            </c:strRef>
          </c:cat>
          <c:val>
            <c:numRef>
              <c:f>Sheet1!$C$2:$C$13</c:f>
              <c:numCache>
                <c:formatCode>General</c:formatCode>
                <c:ptCount val="12"/>
                <c:pt idx="0">
                  <c:v>1230.34</c:v>
                </c:pt>
                <c:pt idx="1">
                  <c:v>1446.41</c:v>
                </c:pt>
                <c:pt idx="3">
                  <c:v>1582.46</c:v>
                </c:pt>
                <c:pt idx="4">
                  <c:v>6153.66</c:v>
                </c:pt>
                <c:pt idx="7">
                  <c:v>804.4</c:v>
                </c:pt>
                <c:pt idx="9">
                  <c:v>2807.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eiersdorf</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4</c:v>
                </c:pt>
                <c:pt idx="1">
                  <c:v>IX 100</c:v>
                </c:pt>
                <c:pt idx="2">
                  <c:v/>
                </c:pt>
                <c:pt idx="3">
                  <c:v>IX 100</c:v>
                </c:pt>
                <c:pt idx="4">
                  <c:v>IX 47</c:v>
                </c:pt>
                <c:pt idx="5">
                  <c:v/>
                </c:pt>
                <c:pt idx="6">
                  <c:v/>
                </c:pt>
                <c:pt idx="7">
                  <c:v>IX 100</c:v>
                </c:pt>
                <c:pt idx="8">
                  <c:v/>
                </c:pt>
                <c:pt idx="9">
                  <c:v>IX 100</c:v>
                </c:pt>
                <c:pt idx="10">
                  <c:v/>
                </c:pt>
                <c:pt idx="11">
                  <c:v/>
                </c:pt>
              </c:strCache>
            </c:strRef>
          </c:cat>
          <c:val>
            <c:numRef>
              <c:f>Sheet1!$D$2:$D$13</c:f>
              <c:numCache>
                <c:formatCode>General</c:formatCode>
                <c:ptCount val="12"/>
                <c:pt idx="0">
                  <c:v>2809.93</c:v>
                </c:pt>
                <c:pt idx="1">
                  <c:v>1529.14</c:v>
                </c:pt>
                <c:pt idx="2">
                  <c:v>1743.41</c:v>
                </c:pt>
                <c:pt idx="4">
                  <c:v>8560.57</c:v>
                </c:pt>
                <c:pt idx="10">
                  <c:v>5944.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4</c:v>
                </c:pt>
                <c:pt idx="1">
                  <c:v>IX 100</c:v>
                </c:pt>
                <c:pt idx="2">
                  <c:v/>
                </c:pt>
                <c:pt idx="3">
                  <c:v>IX 100</c:v>
                </c:pt>
                <c:pt idx="4">
                  <c:v>IX 47</c:v>
                </c:pt>
                <c:pt idx="5">
                  <c:v/>
                </c:pt>
                <c:pt idx="6">
                  <c:v/>
                </c:pt>
                <c:pt idx="7">
                  <c:v>IX 100</c:v>
                </c:pt>
                <c:pt idx="8">
                  <c:v/>
                </c:pt>
                <c:pt idx="9">
                  <c:v>IX 100</c:v>
                </c:pt>
                <c:pt idx="10">
                  <c:v/>
                </c:pt>
                <c:pt idx="11">
                  <c:v/>
                </c:pt>
              </c:strCache>
            </c:strRef>
          </c:cat>
          <c:val>
            <c:numRef>
              <c:f>Sheet1!$E$2:$E$13</c:f>
              <c:numCache>
                <c:formatCode>General</c:formatCode>
                <c:ptCount val="12"/>
                <c:pt idx="0">
                  <c:v>13060.86</c:v>
                </c:pt>
                <c:pt idx="1">
                  <c:v>7747.75</c:v>
                </c:pt>
                <c:pt idx="2">
                  <c:v>2677.76</c:v>
                </c:pt>
                <c:pt idx="3">
                  <c:v>3462.2</c:v>
                </c:pt>
                <c:pt idx="4">
                  <c:v>14219.24</c:v>
                </c:pt>
                <c:pt idx="5">
                  <c:v>3219.54</c:v>
                </c:pt>
                <c:pt idx="6">
                  <c:v>5809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Orea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4</c:v>
                </c:pt>
                <c:pt idx="1">
                  <c:v>IX 100</c:v>
                </c:pt>
                <c:pt idx="2">
                  <c:v/>
                </c:pt>
                <c:pt idx="3">
                  <c:v>IX 100</c:v>
                </c:pt>
                <c:pt idx="4">
                  <c:v>IX 47</c:v>
                </c:pt>
                <c:pt idx="5">
                  <c:v/>
                </c:pt>
                <c:pt idx="6">
                  <c:v/>
                </c:pt>
                <c:pt idx="7">
                  <c:v>IX 100</c:v>
                </c:pt>
                <c:pt idx="8">
                  <c:v/>
                </c:pt>
                <c:pt idx="9">
                  <c:v>IX 100</c:v>
                </c:pt>
                <c:pt idx="10">
                  <c:v/>
                </c:pt>
                <c:pt idx="11">
                  <c:v/>
                </c:pt>
              </c:strCache>
            </c:strRef>
          </c:cat>
          <c:val>
            <c:numRef>
              <c:f>Sheet1!$F$2:$F$13</c:f>
              <c:numCache>
                <c:formatCode>General</c:formatCode>
                <c:ptCount val="12"/>
                <c:pt idx="0">
                  <c:v>6930.86</c:v>
                </c:pt>
                <c:pt idx="1">
                  <c:v>7327.57</c:v>
                </c:pt>
                <c:pt idx="2">
                  <c:v>12274.36</c:v>
                </c:pt>
                <c:pt idx="3">
                  <c:v>5451.71</c:v>
                </c:pt>
                <c:pt idx="4">
                  <c:v>13028.55</c:v>
                </c:pt>
                <c:pt idx="5">
                  <c:v>6520.99</c:v>
                </c:pt>
                <c:pt idx="7">
                  <c:v>3389.29</c:v>
                </c:pt>
                <c:pt idx="8">
                  <c:v>6628.0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091.2831"/>
          <c:min val="803.89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
                </c:pt>
                <c:pt idx="4">
                  <c:v/>
                </c:pt>
                <c:pt idx="5">
                  <c:v/>
                </c:pt>
                <c:pt idx="6">
                  <c:v/>
                </c:pt>
                <c:pt idx="7">
                  <c:v/>
                </c:pt>
                <c:pt idx="8">
                  <c:v/>
                </c:pt>
                <c:pt idx="9">
                  <c:v/>
                </c:pt>
                <c:pt idx="10">
                  <c:v/>
                </c:pt>
                <c:pt idx="11">
                  <c:v>IX 100</c:v>
                </c:pt>
                <c:pt idx="12">
                  <c:v/>
                </c:pt>
                <c:pt idx="13">
                  <c:v/>
                </c:pt>
              </c:strCache>
            </c:strRef>
          </c:cat>
          <c:val>
            <c:numRef>
              <c:f>Sheet1!$B$2:$B$15</c:f>
              <c:numCache>
                <c:formatCode>General</c:formatCode>
                <c:ptCount val="14"/>
                <c:pt idx="0">
                  <c:v>2648.61</c:v>
                </c:pt>
                <c:pt idx="1">
                  <c:v>1669.19</c:v>
                </c:pt>
                <c:pt idx="2">
                  <c:v>3141.74</c:v>
                </c:pt>
                <c:pt idx="3">
                  <c:v>12831.91</c:v>
                </c:pt>
                <c:pt idx="4">
                  <c:v>1749.03</c:v>
                </c:pt>
                <c:pt idx="5">
                  <c:v>3697.29</c:v>
                </c:pt>
                <c:pt idx="6">
                  <c:v>30443.43</c:v>
                </c:pt>
                <c:pt idx="7">
                  <c:v>9735.82</c:v>
                </c:pt>
                <c:pt idx="8">
                  <c:v>2172.11</c:v>
                </c:pt>
                <c:pt idx="9">
                  <c:v>6770.53</c:v>
                </c:pt>
                <c:pt idx="10">
                  <c:v>2823.04</c:v>
                </c:pt>
                <c:pt idx="11">
                  <c:v>7086.94</c:v>
                </c:pt>
                <c:pt idx="12">
                  <c:v>14969.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a:t>
                    </a:r>
                  </a:p>
                  <a:p>
                    <a:r>
                      <a:t>1237.96</a:t>
                    </a:r>
                  </a:p>
                </c:rich>
              </c:tx>
              <c:dLblPos val="l"/>
              <c:showLegendKey val="0"/>
              <c:showVal val="1"/>
              <c:showCatName val="0"/>
              <c:showSerName val="0"/>
              <c:showPercent val="0"/>
              <c:showBubbleSize val="0"/>
            </c:dLbl>
            <c:dLbl>
              <c:idx val="1"/>
              <c:tx>
                <c:rich>
                  <a:bodyPr/>
                  <a:lstStyle/>
                  <a:p>
                    <a:r>
                      <a:t>IX 100</a:t>
                    </a:r>
                  </a:p>
                  <a:p>
                    <a:r>
                      <a:t>1353.0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IX 100</a:t>
                    </a:r>
                  </a:p>
                  <a:p>
                    <a:r>
                      <a:t>1415.5</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
                </c:pt>
                <c:pt idx="4">
                  <c:v/>
                </c:pt>
                <c:pt idx="5">
                  <c:v/>
                </c:pt>
                <c:pt idx="6">
                  <c:v/>
                </c:pt>
                <c:pt idx="7">
                  <c:v/>
                </c:pt>
                <c:pt idx="8">
                  <c:v/>
                </c:pt>
                <c:pt idx="9">
                  <c:v/>
                </c:pt>
                <c:pt idx="10">
                  <c:v/>
                </c:pt>
                <c:pt idx="11">
                  <c:v>IX 100</c:v>
                </c:pt>
                <c:pt idx="12">
                  <c:v/>
                </c:pt>
                <c:pt idx="13">
                  <c:v/>
                </c:pt>
              </c:strCache>
            </c:strRef>
          </c:cat>
          <c:val>
            <c:numRef>
              <c:f>Sheet1!$C$2:$C$15</c:f>
              <c:numCache>
                <c:formatCode>General</c:formatCode>
                <c:ptCount val="14"/>
                <c:pt idx="0">
                  <c:v>1237.96</c:v>
                </c:pt>
                <c:pt idx="1">
                  <c:v>1353.04</c:v>
                </c:pt>
                <c:pt idx="11">
                  <c:v>141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
                </c:pt>
                <c:pt idx="4">
                  <c:v/>
                </c:pt>
                <c:pt idx="5">
                  <c:v/>
                </c:pt>
                <c:pt idx="6">
                  <c:v/>
                </c:pt>
                <c:pt idx="7">
                  <c:v/>
                </c:pt>
                <c:pt idx="8">
                  <c:v/>
                </c:pt>
                <c:pt idx="9">
                  <c:v/>
                </c:pt>
                <c:pt idx="10">
                  <c:v/>
                </c:pt>
                <c:pt idx="11">
                  <c:v>IX 100</c:v>
                </c:pt>
                <c:pt idx="12">
                  <c:v/>
                </c:pt>
                <c:pt idx="13">
                  <c:v/>
                </c:pt>
              </c:strCache>
            </c:strRef>
          </c:cat>
          <c:val>
            <c:numRef>
              <c:f>Sheet1!$D$2:$D$15</c:f>
              <c:numCache>
                <c:formatCode>General</c:formatCode>
                <c:ptCount val="14"/>
                <c:pt idx="0">
                  <c:v>12566.54</c:v>
                </c:pt>
                <c:pt idx="1">
                  <c:v>7590.45</c:v>
                </c:pt>
                <c:pt idx="2">
                  <c:v>2595.38</c:v>
                </c:pt>
                <c:pt idx="3">
                  <c:v>13280.08</c:v>
                </c:pt>
                <c:pt idx="4">
                  <c:v>2720.06</c:v>
                </c:pt>
                <c:pt idx="5">
                  <c:v>3216.7</c:v>
                </c:pt>
                <c:pt idx="6">
                  <c:v>49849.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
                </c:pt>
                <c:pt idx="4">
                  <c:v/>
                </c:pt>
                <c:pt idx="5">
                  <c:v/>
                </c:pt>
                <c:pt idx="6">
                  <c:v/>
                </c:pt>
                <c:pt idx="7">
                  <c:v/>
                </c:pt>
                <c:pt idx="8">
                  <c:v/>
                </c:pt>
                <c:pt idx="9">
                  <c:v/>
                </c:pt>
                <c:pt idx="10">
                  <c:v/>
                </c:pt>
                <c:pt idx="11">
                  <c:v>IX 100</c:v>
                </c:pt>
                <c:pt idx="12">
                  <c:v/>
                </c:pt>
                <c:pt idx="13">
                  <c:v/>
                </c:pt>
              </c:strCache>
            </c:strRef>
          </c:cat>
          <c:val>
            <c:numRef>
              <c:f>Sheet1!$E$2:$E$15</c:f>
              <c:numCache>
                <c:formatCode>General</c:formatCode>
                <c:ptCount val="14"/>
                <c:pt idx="0">
                  <c:v>11899.78</c:v>
                </c:pt>
                <c:pt idx="1">
                  <c:v>7399.58</c:v>
                </c:pt>
                <c:pt idx="2">
                  <c:v>11613.59</c:v>
                </c:pt>
                <c:pt idx="3">
                  <c:v>12490.44</c:v>
                </c:pt>
                <c:pt idx="4">
                  <c:v>4355.41</c:v>
                </c:pt>
                <c:pt idx="5">
                  <c:v>6394.48</c:v>
                </c:pt>
                <c:pt idx="8">
                  <c:v>4937.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
                </c:pt>
                <c:pt idx="4">
                  <c:v/>
                </c:pt>
                <c:pt idx="5">
                  <c:v/>
                </c:pt>
                <c:pt idx="6">
                  <c:v/>
                </c:pt>
                <c:pt idx="7">
                  <c:v/>
                </c:pt>
                <c:pt idx="8">
                  <c:v/>
                </c:pt>
                <c:pt idx="9">
                  <c:v/>
                </c:pt>
                <c:pt idx="10">
                  <c:v/>
                </c:pt>
                <c:pt idx="11">
                  <c:v>IX 100</c:v>
                </c:pt>
                <c:pt idx="12">
                  <c:v/>
                </c:pt>
                <c:pt idx="13">
                  <c:v/>
                </c:pt>
              </c:strCache>
            </c:strRef>
          </c:cat>
          <c:val>
            <c:numRef>
              <c:f>Sheet1!$F$2:$F$15</c:f>
              <c:numCache>
                <c:formatCode>General</c:formatCode>
                <c:ptCount val="14"/>
                <c:pt idx="0">
                  <c:v>8351.07</c:v>
                </c:pt>
                <c:pt idx="1">
                  <c:v>4118.4</c:v>
                </c:pt>
                <c:pt idx="2">
                  <c:v>12780.99</c:v>
                </c:pt>
                <c:pt idx="3">
                  <c:v>12253.73</c:v>
                </c:pt>
                <c:pt idx="7">
                  <c:v>8838.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850.340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IX 47</c:v>
                </c:pt>
                <c:pt idx="4">
                  <c:v>IX 100</c:v>
                </c:pt>
                <c:pt idx="5">
                  <c:v>IX 344</c:v>
                </c:pt>
                <c:pt idx="6">
                  <c:v/>
                </c:pt>
                <c:pt idx="7">
                  <c:v/>
                </c:pt>
                <c:pt idx="8">
                  <c:v>IX 16</c:v>
                </c:pt>
                <c:pt idx="9">
                  <c:v/>
                </c:pt>
                <c:pt idx="10">
                  <c:v>IX 100</c:v>
                </c:pt>
                <c:pt idx="11">
                  <c:v/>
                </c:pt>
                <c:pt idx="12">
                  <c:v/>
                </c:pt>
                <c:pt idx="13">
                  <c:v/>
                </c:pt>
              </c:strCache>
            </c:strRef>
          </c:cat>
          <c:val>
            <c:numRef>
              <c:f>Sheet1!$B$2:$B$15</c:f>
              <c:numCache>
                <c:formatCode>General</c:formatCode>
                <c:ptCount val="14"/>
                <c:pt idx="0">
                  <c:v>2648.61</c:v>
                </c:pt>
                <c:pt idx="1">
                  <c:v>1669.19</c:v>
                </c:pt>
                <c:pt idx="2">
                  <c:v>3141.74</c:v>
                </c:pt>
                <c:pt idx="3">
                  <c:v>12831.91</c:v>
                </c:pt>
                <c:pt idx="4">
                  <c:v>1749.03</c:v>
                </c:pt>
                <c:pt idx="5">
                  <c:v>3697.29</c:v>
                </c:pt>
                <c:pt idx="6">
                  <c:v>30443.43</c:v>
                </c:pt>
                <c:pt idx="7">
                  <c:v>9735.82</c:v>
                </c:pt>
                <c:pt idx="8">
                  <c:v>2172.11</c:v>
                </c:pt>
                <c:pt idx="9">
                  <c:v>6770.53</c:v>
                </c:pt>
                <c:pt idx="10">
                  <c:v>2823.04</c:v>
                </c:pt>
                <c:pt idx="11">
                  <c:v>7086.94</c:v>
                </c:pt>
                <c:pt idx="12">
                  <c:v>14969.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a:t>
                    </a:r>
                  </a:p>
                  <a:p>
                    <a:r>
                      <a:t>1199.51</a:t>
                    </a:r>
                  </a:p>
                </c:rich>
              </c:tx>
              <c:dLblPos val="l"/>
              <c:showLegendKey val="0"/>
              <c:showVal val="1"/>
              <c:showCatName val="0"/>
              <c:showSerName val="0"/>
              <c:showPercent val="0"/>
              <c:showBubbleSize val="0"/>
            </c:dLbl>
            <c:dLbl>
              <c:idx val="1"/>
              <c:tx>
                <c:rich>
                  <a:bodyPr/>
                  <a:lstStyle/>
                  <a:p>
                    <a:r>
                      <a:t>IX 100</a:t>
                    </a:r>
                  </a:p>
                  <a:p>
                    <a:r>
                      <a:t>1421.1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47</a:t>
                    </a:r>
                  </a:p>
                  <a:p>
                    <a:r>
                      <a:t>5859.0</a:t>
                    </a:r>
                  </a:p>
                </c:rich>
              </c:tx>
              <c:dLblPos val="l"/>
              <c:showLegendKey val="0"/>
              <c:showVal val="1"/>
              <c:showCatName val="0"/>
              <c:showSerName val="0"/>
              <c:showPercent val="0"/>
              <c:showBubbleSize val="0"/>
            </c:dLbl>
            <c:dLbl>
              <c:idx val="4"/>
              <c:tx>
                <c:rich>
                  <a:bodyPr/>
                  <a:lstStyle/>
                  <a:p>
                    <a:r>
                      <a:t>IX 100</a:t>
                    </a:r>
                  </a:p>
                  <a:p>
                    <a:r>
                      <a:t>1607.06</a:t>
                    </a:r>
                  </a:p>
                </c:rich>
              </c:tx>
              <c:dLblPos val="l"/>
              <c:showLegendKey val="0"/>
              <c:showVal val="1"/>
              <c:showCatName val="0"/>
              <c:showSerName val="0"/>
              <c:showPercent val="0"/>
              <c:showBubbleSize val="0"/>
            </c:dLbl>
            <c:dLbl>
              <c:idx val="5"/>
              <c:tx>
                <c:rich>
                  <a:bodyPr/>
                  <a:lstStyle/>
                  <a:p>
                    <a:r>
                      <a:t>IX 344</a:t>
                    </a:r>
                  </a:p>
                  <a:p>
                    <a:r>
                      <a:t>11079.5</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6</a:t>
                    </a:r>
                  </a:p>
                  <a:p>
                    <a:r>
                      <a:t>811.07</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2823.04</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IX 47</c:v>
                </c:pt>
                <c:pt idx="4">
                  <c:v>IX 100</c:v>
                </c:pt>
                <c:pt idx="5">
                  <c:v>IX 344</c:v>
                </c:pt>
                <c:pt idx="6">
                  <c:v/>
                </c:pt>
                <c:pt idx="7">
                  <c:v/>
                </c:pt>
                <c:pt idx="8">
                  <c:v>IX 16</c:v>
                </c:pt>
                <c:pt idx="9">
                  <c:v/>
                </c:pt>
                <c:pt idx="10">
                  <c:v>IX 100</c:v>
                </c:pt>
                <c:pt idx="11">
                  <c:v/>
                </c:pt>
                <c:pt idx="12">
                  <c:v/>
                </c:pt>
                <c:pt idx="13">
                  <c:v/>
                </c:pt>
              </c:strCache>
            </c:strRef>
          </c:cat>
          <c:val>
            <c:numRef>
              <c:f>Sheet1!$C$2:$C$15</c:f>
              <c:numCache>
                <c:formatCode>General</c:formatCode>
                <c:ptCount val="14"/>
                <c:pt idx="0">
                  <c:v>1199.51</c:v>
                </c:pt>
                <c:pt idx="1">
                  <c:v>1421.17</c:v>
                </c:pt>
                <c:pt idx="3">
                  <c:v>5859.0</c:v>
                </c:pt>
                <c:pt idx="4">
                  <c:v>1607.06</c:v>
                </c:pt>
                <c:pt idx="5">
                  <c:v>11079.5</c:v>
                </c:pt>
                <c:pt idx="8">
                  <c:v>811.07</c:v>
                </c:pt>
                <c:pt idx="10">
                  <c:v>2823.0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IX 47</c:v>
                </c:pt>
                <c:pt idx="4">
                  <c:v>IX 100</c:v>
                </c:pt>
                <c:pt idx="5">
                  <c:v>IX 344</c:v>
                </c:pt>
                <c:pt idx="6">
                  <c:v/>
                </c:pt>
                <c:pt idx="7">
                  <c:v/>
                </c:pt>
                <c:pt idx="8">
                  <c:v>IX 16</c:v>
                </c:pt>
                <c:pt idx="9">
                  <c:v/>
                </c:pt>
                <c:pt idx="10">
                  <c:v>IX 100</c:v>
                </c:pt>
                <c:pt idx="11">
                  <c:v/>
                </c:pt>
                <c:pt idx="12">
                  <c:v/>
                </c:pt>
                <c:pt idx="13">
                  <c:v/>
                </c:pt>
              </c:strCache>
            </c:strRef>
          </c:cat>
          <c:val>
            <c:numRef>
              <c:f>Sheet1!$D$2:$D$15</c:f>
              <c:numCache>
                <c:formatCode>General</c:formatCode>
                <c:ptCount val="14"/>
                <c:pt idx="0">
                  <c:v>12566.54</c:v>
                </c:pt>
                <c:pt idx="1">
                  <c:v>7590.45</c:v>
                </c:pt>
                <c:pt idx="2">
                  <c:v>2595.38</c:v>
                </c:pt>
                <c:pt idx="3">
                  <c:v>13280.08</c:v>
                </c:pt>
                <c:pt idx="4">
                  <c:v>2720.06</c:v>
                </c:pt>
                <c:pt idx="5">
                  <c:v>3216.7</c:v>
                </c:pt>
                <c:pt idx="6">
                  <c:v>49849.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IX 47</c:v>
                </c:pt>
                <c:pt idx="4">
                  <c:v>IX 100</c:v>
                </c:pt>
                <c:pt idx="5">
                  <c:v>IX 344</c:v>
                </c:pt>
                <c:pt idx="6">
                  <c:v/>
                </c:pt>
                <c:pt idx="7">
                  <c:v/>
                </c:pt>
                <c:pt idx="8">
                  <c:v>IX 16</c:v>
                </c:pt>
                <c:pt idx="9">
                  <c:v/>
                </c:pt>
                <c:pt idx="10">
                  <c:v>IX 100</c:v>
                </c:pt>
                <c:pt idx="11">
                  <c:v/>
                </c:pt>
                <c:pt idx="12">
                  <c:v/>
                </c:pt>
                <c:pt idx="13">
                  <c:v/>
                </c:pt>
              </c:strCache>
            </c:strRef>
          </c:cat>
          <c:val>
            <c:numRef>
              <c:f>Sheet1!$E$2:$E$15</c:f>
              <c:numCache>
                <c:formatCode>General</c:formatCode>
                <c:ptCount val="14"/>
                <c:pt idx="0">
                  <c:v>11899.78</c:v>
                </c:pt>
                <c:pt idx="1">
                  <c:v>7399.58</c:v>
                </c:pt>
                <c:pt idx="2">
                  <c:v>11613.59</c:v>
                </c:pt>
                <c:pt idx="3">
                  <c:v>12490.44</c:v>
                </c:pt>
                <c:pt idx="4">
                  <c:v>4355.41</c:v>
                </c:pt>
                <c:pt idx="5">
                  <c:v>6394.48</c:v>
                </c:pt>
                <c:pt idx="8">
                  <c:v>4937.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X 10</c:v>
                </c:pt>
                <c:pt idx="1">
                  <c:v>IX 100</c:v>
                </c:pt>
                <c:pt idx="2">
                  <c:v/>
                </c:pt>
                <c:pt idx="3">
                  <c:v>IX 47</c:v>
                </c:pt>
                <c:pt idx="4">
                  <c:v>IX 100</c:v>
                </c:pt>
                <c:pt idx="5">
                  <c:v>IX 344</c:v>
                </c:pt>
                <c:pt idx="6">
                  <c:v/>
                </c:pt>
                <c:pt idx="7">
                  <c:v/>
                </c:pt>
                <c:pt idx="8">
                  <c:v>IX 16</c:v>
                </c:pt>
                <c:pt idx="9">
                  <c:v/>
                </c:pt>
                <c:pt idx="10">
                  <c:v>IX 100</c:v>
                </c:pt>
                <c:pt idx="11">
                  <c:v/>
                </c:pt>
                <c:pt idx="12">
                  <c:v/>
                </c:pt>
                <c:pt idx="13">
                  <c:v/>
                </c:pt>
              </c:strCache>
            </c:strRef>
          </c:cat>
          <c:val>
            <c:numRef>
              <c:f>Sheet1!$F$2:$F$15</c:f>
              <c:numCache>
                <c:formatCode>General</c:formatCode>
                <c:ptCount val="14"/>
                <c:pt idx="0">
                  <c:v>8351.07</c:v>
                </c:pt>
                <c:pt idx="1">
                  <c:v>4118.4</c:v>
                </c:pt>
                <c:pt idx="2">
                  <c:v>12780.99</c:v>
                </c:pt>
                <c:pt idx="3">
                  <c:v>12253.73</c:v>
                </c:pt>
                <c:pt idx="7">
                  <c:v>8838.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850.340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62</c:v>
                </c:pt>
                <c:pt idx="2">
                  <c:v/>
                </c:pt>
                <c:pt idx="3">
                  <c:v/>
                </c:pt>
                <c:pt idx="4">
                  <c:v/>
                </c:pt>
                <c:pt idx="5">
                  <c:v/>
                </c:pt>
                <c:pt idx="6">
                  <c:v/>
                </c:pt>
                <c:pt idx="7">
                  <c:v/>
                </c:pt>
                <c:pt idx="8">
                  <c:v/>
                </c:pt>
                <c:pt idx="9">
                  <c:v/>
                </c:pt>
                <c:pt idx="10">
                  <c:v/>
                </c:pt>
                <c:pt idx="11">
                  <c:v/>
                </c:pt>
                <c:pt idx="12">
                  <c:v/>
                </c:pt>
                <c:pt idx="13">
                  <c:v/>
                </c:pt>
              </c:strCache>
            </c:strRef>
          </c:cat>
          <c:val>
            <c:numRef>
              <c:f>Sheet1!$B$2:$B$15</c:f>
              <c:numCache>
                <c:formatCode>General</c:formatCode>
                <c:ptCount val="14"/>
                <c:pt idx="0">
                  <c:v>2648.61</c:v>
                </c:pt>
                <c:pt idx="1">
                  <c:v>1669.19</c:v>
                </c:pt>
                <c:pt idx="2">
                  <c:v>3141.74</c:v>
                </c:pt>
                <c:pt idx="3">
                  <c:v>12831.91</c:v>
                </c:pt>
                <c:pt idx="4">
                  <c:v>1749.03</c:v>
                </c:pt>
                <c:pt idx="5">
                  <c:v>3697.29</c:v>
                </c:pt>
                <c:pt idx="6">
                  <c:v>30443.43</c:v>
                </c:pt>
                <c:pt idx="7">
                  <c:v>9735.82</c:v>
                </c:pt>
                <c:pt idx="8">
                  <c:v>2172.11</c:v>
                </c:pt>
                <c:pt idx="9">
                  <c:v>6770.53</c:v>
                </c:pt>
                <c:pt idx="10">
                  <c:v>2823.04</c:v>
                </c:pt>
                <c:pt idx="11">
                  <c:v>7086.94</c:v>
                </c:pt>
                <c:pt idx="12">
                  <c:v>14969.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2</a:t>
                    </a:r>
                  </a:p>
                  <a:p>
                    <a:r>
                      <a:t>4702.2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dLbl>
              <c:idx val="13"/>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62</c:v>
                </c:pt>
                <c:pt idx="2">
                  <c:v/>
                </c:pt>
                <c:pt idx="3">
                  <c:v/>
                </c:pt>
                <c:pt idx="4">
                  <c:v/>
                </c:pt>
                <c:pt idx="5">
                  <c:v/>
                </c:pt>
                <c:pt idx="6">
                  <c:v/>
                </c:pt>
                <c:pt idx="7">
                  <c:v/>
                </c:pt>
                <c:pt idx="8">
                  <c:v/>
                </c:pt>
                <c:pt idx="9">
                  <c:v/>
                </c:pt>
                <c:pt idx="10">
                  <c:v/>
                </c:pt>
                <c:pt idx="11">
                  <c:v/>
                </c:pt>
                <c:pt idx="12">
                  <c:v/>
                </c:pt>
                <c:pt idx="13">
                  <c:v/>
                </c:pt>
              </c:strCache>
            </c:strRef>
          </c:cat>
          <c:val>
            <c:numRef>
              <c:f>Sheet1!$C$2:$C$15</c:f>
              <c:numCache>
                <c:formatCode>General</c:formatCode>
                <c:ptCount val="14"/>
                <c:pt idx="1">
                  <c:v>4702.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62</c:v>
                </c:pt>
                <c:pt idx="2">
                  <c:v/>
                </c:pt>
                <c:pt idx="3">
                  <c:v/>
                </c:pt>
                <c:pt idx="4">
                  <c:v/>
                </c:pt>
                <c:pt idx="5">
                  <c:v/>
                </c:pt>
                <c:pt idx="6">
                  <c:v/>
                </c:pt>
                <c:pt idx="7">
                  <c:v/>
                </c:pt>
                <c:pt idx="8">
                  <c:v/>
                </c:pt>
                <c:pt idx="9">
                  <c:v/>
                </c:pt>
                <c:pt idx="10">
                  <c:v/>
                </c:pt>
                <c:pt idx="11">
                  <c:v/>
                </c:pt>
                <c:pt idx="12">
                  <c:v/>
                </c:pt>
                <c:pt idx="13">
                  <c:v/>
                </c:pt>
              </c:strCache>
            </c:strRef>
          </c:cat>
          <c:val>
            <c:numRef>
              <c:f>Sheet1!$D$2:$D$15</c:f>
              <c:numCache>
                <c:formatCode>General</c:formatCode>
                <c:ptCount val="14"/>
                <c:pt idx="0">
                  <c:v>12566.54</c:v>
                </c:pt>
                <c:pt idx="1">
                  <c:v>7590.45</c:v>
                </c:pt>
                <c:pt idx="2">
                  <c:v>2595.38</c:v>
                </c:pt>
                <c:pt idx="3">
                  <c:v>13280.08</c:v>
                </c:pt>
                <c:pt idx="4">
                  <c:v>2720.06</c:v>
                </c:pt>
                <c:pt idx="5">
                  <c:v>3216.7</c:v>
                </c:pt>
                <c:pt idx="6">
                  <c:v>49849.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62</c:v>
                </c:pt>
                <c:pt idx="2">
                  <c:v/>
                </c:pt>
                <c:pt idx="3">
                  <c:v/>
                </c:pt>
                <c:pt idx="4">
                  <c:v/>
                </c:pt>
                <c:pt idx="5">
                  <c:v/>
                </c:pt>
                <c:pt idx="6">
                  <c:v/>
                </c:pt>
                <c:pt idx="7">
                  <c:v/>
                </c:pt>
                <c:pt idx="8">
                  <c:v/>
                </c:pt>
                <c:pt idx="9">
                  <c:v/>
                </c:pt>
                <c:pt idx="10">
                  <c:v/>
                </c:pt>
                <c:pt idx="11">
                  <c:v/>
                </c:pt>
                <c:pt idx="12">
                  <c:v/>
                </c:pt>
                <c:pt idx="13">
                  <c:v/>
                </c:pt>
              </c:strCache>
            </c:strRef>
          </c:cat>
          <c:val>
            <c:numRef>
              <c:f>Sheet1!$E$2:$E$15</c:f>
              <c:numCache>
                <c:formatCode>General</c:formatCode>
                <c:ptCount val="14"/>
                <c:pt idx="0">
                  <c:v>11899.78</c:v>
                </c:pt>
                <c:pt idx="1">
                  <c:v>7399.58</c:v>
                </c:pt>
                <c:pt idx="2">
                  <c:v>11613.59</c:v>
                </c:pt>
                <c:pt idx="3">
                  <c:v>12490.44</c:v>
                </c:pt>
                <c:pt idx="4">
                  <c:v>4355.41</c:v>
                </c:pt>
                <c:pt idx="5">
                  <c:v>6394.48</c:v>
                </c:pt>
                <c:pt idx="8">
                  <c:v>4937.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
                </c:pt>
                <c:pt idx="1">
                  <c:v>IX 62</c:v>
                </c:pt>
                <c:pt idx="2">
                  <c:v/>
                </c:pt>
                <c:pt idx="3">
                  <c:v/>
                </c:pt>
                <c:pt idx="4">
                  <c:v/>
                </c:pt>
                <c:pt idx="5">
                  <c:v/>
                </c:pt>
                <c:pt idx="6">
                  <c:v/>
                </c:pt>
                <c:pt idx="7">
                  <c:v/>
                </c:pt>
                <c:pt idx="8">
                  <c:v/>
                </c:pt>
                <c:pt idx="9">
                  <c:v/>
                </c:pt>
                <c:pt idx="10">
                  <c:v/>
                </c:pt>
                <c:pt idx="11">
                  <c:v/>
                </c:pt>
                <c:pt idx="12">
                  <c:v/>
                </c:pt>
                <c:pt idx="13">
                  <c:v/>
                </c:pt>
              </c:strCache>
            </c:strRef>
          </c:cat>
          <c:val>
            <c:numRef>
              <c:f>Sheet1!$F$2:$F$15</c:f>
              <c:numCache>
                <c:formatCode>General</c:formatCode>
                <c:ptCount val="14"/>
                <c:pt idx="0">
                  <c:v>8351.07</c:v>
                </c:pt>
                <c:pt idx="1">
                  <c:v>4118.4</c:v>
                </c:pt>
                <c:pt idx="2">
                  <c:v>12780.99</c:v>
                </c:pt>
                <c:pt idx="3">
                  <c:v>12253.73</c:v>
                </c:pt>
                <c:pt idx="7">
                  <c:v>8838.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9850.3401"/>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
                </c:pt>
                <c:pt idx="4">
                  <c:v/>
                </c:pt>
                <c:pt idx="5">
                  <c:v/>
                </c:pt>
                <c:pt idx="6">
                  <c:v/>
                </c:pt>
                <c:pt idx="7">
                  <c:v/>
                </c:pt>
                <c:pt idx="8">
                  <c:v/>
                </c:pt>
                <c:pt idx="9">
                  <c:v/>
                </c:pt>
                <c:pt idx="10">
                  <c:v/>
                </c:pt>
                <c:pt idx="11">
                  <c:v/>
                </c:pt>
                <c:pt idx="12">
                  <c:v/>
                </c:pt>
              </c:strCache>
            </c:strRef>
          </c:cat>
          <c:val>
            <c:numRef>
              <c:f>Sheet1!$B$2:$B$14</c:f>
              <c:numCache>
                <c:formatCode>General</c:formatCode>
                <c:ptCount val="13"/>
                <c:pt idx="0">
                  <c:v>2721.58</c:v>
                </c:pt>
                <c:pt idx="1">
                  <c:v>1703.94</c:v>
                </c:pt>
                <c:pt idx="2">
                  <c:v>3123.74</c:v>
                </c:pt>
                <c:pt idx="3">
                  <c:v>12870.86</c:v>
                </c:pt>
                <c:pt idx="4">
                  <c:v>1800.86</c:v>
                </c:pt>
                <c:pt idx="5">
                  <c:v>3765.74</c:v>
                </c:pt>
                <c:pt idx="6">
                  <c:v>33802.58</c:v>
                </c:pt>
                <c:pt idx="7">
                  <c:v>9804.89</c:v>
                </c:pt>
                <c:pt idx="8">
                  <c:v>2242.37</c:v>
                </c:pt>
                <c:pt idx="9">
                  <c:v>6971.58</c:v>
                </c:pt>
                <c:pt idx="10">
                  <c:v>2905.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a:t>
                    </a:r>
                  </a:p>
                  <a:p>
                    <a:r>
                      <a:t>1262.95</a:t>
                    </a:r>
                  </a:p>
                </c:rich>
              </c:tx>
              <c:dLblPos val="l"/>
              <c:showLegendKey val="0"/>
              <c:showVal val="1"/>
              <c:showCatName val="0"/>
              <c:showSerName val="0"/>
              <c:showPercent val="0"/>
              <c:showBubbleSize val="0"/>
            </c:dLbl>
            <c:dLbl>
              <c:idx val="1"/>
              <c:tx>
                <c:rich>
                  <a:bodyPr/>
                  <a:lstStyle/>
                  <a:p>
                    <a:r>
                      <a:t>IX 100</a:t>
                    </a:r>
                  </a:p>
                  <a:p>
                    <a:r>
                      <a:t>1382.0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
                </c:pt>
                <c:pt idx="4">
                  <c:v/>
                </c:pt>
                <c:pt idx="5">
                  <c:v/>
                </c:pt>
                <c:pt idx="6">
                  <c:v/>
                </c:pt>
                <c:pt idx="7">
                  <c:v/>
                </c:pt>
                <c:pt idx="8">
                  <c:v/>
                </c:pt>
                <c:pt idx="9">
                  <c:v/>
                </c:pt>
                <c:pt idx="10">
                  <c:v/>
                </c:pt>
                <c:pt idx="11">
                  <c:v/>
                </c:pt>
                <c:pt idx="12">
                  <c:v/>
                </c:pt>
              </c:strCache>
            </c:strRef>
          </c:cat>
          <c:val>
            <c:numRef>
              <c:f>Sheet1!$C$2:$C$14</c:f>
              <c:numCache>
                <c:formatCode>General</c:formatCode>
                <c:ptCount val="13"/>
                <c:pt idx="0">
                  <c:v>1262.95</c:v>
                </c:pt>
                <c:pt idx="1">
                  <c:v>1382.0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
                </c:pt>
                <c:pt idx="4">
                  <c:v/>
                </c:pt>
                <c:pt idx="5">
                  <c:v/>
                </c:pt>
                <c:pt idx="6">
                  <c:v/>
                </c:pt>
                <c:pt idx="7">
                  <c:v/>
                </c:pt>
                <c:pt idx="8">
                  <c:v/>
                </c:pt>
                <c:pt idx="9">
                  <c:v/>
                </c:pt>
                <c:pt idx="10">
                  <c:v/>
                </c:pt>
                <c:pt idx="11">
                  <c:v/>
                </c:pt>
                <c:pt idx="12">
                  <c:v/>
                </c:pt>
              </c:strCache>
            </c:strRef>
          </c:cat>
          <c:val>
            <c:numRef>
              <c:f>Sheet1!$D$2:$D$14</c:f>
              <c:numCache>
                <c:formatCode>General</c:formatCode>
                <c:ptCount val="13"/>
                <c:pt idx="0">
                  <c:v>12532.18</c:v>
                </c:pt>
                <c:pt idx="1">
                  <c:v>7405.62</c:v>
                </c:pt>
                <c:pt idx="2">
                  <c:v>2608.07</c:v>
                </c:pt>
                <c:pt idx="3">
                  <c:v>12672.55</c:v>
                </c:pt>
                <c:pt idx="4">
                  <c:v>2690.62</c:v>
                </c:pt>
                <c:pt idx="5">
                  <c:v>3210.89</c:v>
                </c:pt>
                <c:pt idx="6">
                  <c:v>51686.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
                </c:pt>
                <c:pt idx="4">
                  <c:v/>
                </c:pt>
                <c:pt idx="5">
                  <c:v/>
                </c:pt>
                <c:pt idx="6">
                  <c:v/>
                </c:pt>
                <c:pt idx="7">
                  <c:v/>
                </c:pt>
                <c:pt idx="8">
                  <c:v/>
                </c:pt>
                <c:pt idx="9">
                  <c:v/>
                </c:pt>
                <c:pt idx="10">
                  <c:v/>
                </c:pt>
                <c:pt idx="11">
                  <c:v/>
                </c:pt>
                <c:pt idx="12">
                  <c:v/>
                </c:pt>
              </c:strCache>
            </c:strRef>
          </c:cat>
          <c:val>
            <c:numRef>
              <c:f>Sheet1!$E$2:$E$14</c:f>
              <c:numCache>
                <c:formatCode>General</c:formatCode>
                <c:ptCount val="13"/>
                <c:pt idx="0">
                  <c:v>8451.75</c:v>
                </c:pt>
                <c:pt idx="1">
                  <c:v>4192.05</c:v>
                </c:pt>
                <c:pt idx="2">
                  <c:v>13007.42</c:v>
                </c:pt>
                <c:pt idx="3">
                  <c:v>12383.04</c:v>
                </c:pt>
                <c:pt idx="7">
                  <c:v>8759.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
                </c:pt>
                <c:pt idx="4">
                  <c:v/>
                </c:pt>
                <c:pt idx="5">
                  <c:v/>
                </c:pt>
                <c:pt idx="6">
                  <c:v/>
                </c:pt>
                <c:pt idx="7">
                  <c:v/>
                </c:pt>
                <c:pt idx="8">
                  <c:v/>
                </c:pt>
                <c:pt idx="9">
                  <c:v/>
                </c:pt>
                <c:pt idx="10">
                  <c:v/>
                </c:pt>
                <c:pt idx="11">
                  <c:v/>
                </c:pt>
                <c:pt idx="12">
                  <c:v/>
                </c:pt>
              </c:strCache>
            </c:strRef>
          </c:cat>
          <c:val>
            <c:numRef>
              <c:f>Sheet1!$F$2:$F$14</c:f>
              <c:numCache>
                <c:formatCode>General</c:formatCode>
                <c:ptCount val="13"/>
                <c:pt idx="0">
                  <c:v>12158.3</c:v>
                </c:pt>
                <c:pt idx="1">
                  <c:v>7621.59</c:v>
                </c:pt>
                <c:pt idx="2">
                  <c:v>11787.79</c:v>
                </c:pt>
                <c:pt idx="3">
                  <c:v>12576.77</c:v>
                </c:pt>
                <c:pt idx="4">
                  <c:v>4470.32</c:v>
                </c:pt>
                <c:pt idx="5">
                  <c:v>6495.46</c:v>
                </c:pt>
                <c:pt idx="8">
                  <c:v>5257.9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86.648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B$2:$B$2</c:f>
              <c:numCache>
                <c:formatCode>General</c:formatCode>
                <c:ptCount val="1"/>
                <c:pt idx="0">
                  <c:v>2435.2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1</a:t>
                    </a:r>
                  </a:p>
                  <a:p>
                    <a:r>
                      <a:t>1250.7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C$2:$C$2</c:f>
              <c:numCache>
                <c:formatCode>General</c:formatCode>
                <c:ptCount val="1"/>
                <c:pt idx="0">
                  <c:v>1250.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D$2:$D$2</c:f>
              <c:numCache>
                <c:formatCode>General</c:formatCode>
                <c:ptCount val="1"/>
                <c:pt idx="0">
                  <c:v>1758.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E$2:$E$2</c:f>
              <c:numCache>
                <c:formatCode>General</c:formatCode>
                <c:ptCount val="1"/>
                <c:pt idx="0">
                  <c:v>1053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1</c:v>
                </c:pt>
              </c:strCache>
            </c:strRef>
          </c:cat>
          <c:val>
            <c:numRef>
              <c:f>Sheet1!$F$2:$F$2</c:f>
              <c:numCache>
                <c:formatCode>General</c:formatCode>
                <c:ptCount val="1"/>
                <c:pt idx="0">
                  <c:v>7854.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40.3647"/>
          <c:min val="1250.226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IX 50</c:v>
                </c:pt>
                <c:pt idx="4">
                  <c:v>IX 100</c:v>
                </c:pt>
                <c:pt idx="5">
                  <c:v>IX 345</c:v>
                </c:pt>
                <c:pt idx="6">
                  <c:v/>
                </c:pt>
                <c:pt idx="7">
                  <c:v/>
                </c:pt>
                <c:pt idx="8">
                  <c:v>IX 15</c:v>
                </c:pt>
                <c:pt idx="9">
                  <c:v/>
                </c:pt>
                <c:pt idx="10">
                  <c:v>IX 100</c:v>
                </c:pt>
                <c:pt idx="11">
                  <c:v/>
                </c:pt>
                <c:pt idx="12">
                  <c:v/>
                </c:pt>
              </c:strCache>
            </c:strRef>
          </c:cat>
          <c:val>
            <c:numRef>
              <c:f>Sheet1!$B$2:$B$14</c:f>
              <c:numCache>
                <c:formatCode>General</c:formatCode>
                <c:ptCount val="13"/>
                <c:pt idx="0">
                  <c:v>2721.58</c:v>
                </c:pt>
                <c:pt idx="1">
                  <c:v>1703.94</c:v>
                </c:pt>
                <c:pt idx="2">
                  <c:v>3123.74</c:v>
                </c:pt>
                <c:pt idx="3">
                  <c:v>12870.86</c:v>
                </c:pt>
                <c:pt idx="4">
                  <c:v>1800.86</c:v>
                </c:pt>
                <c:pt idx="5">
                  <c:v>3765.74</c:v>
                </c:pt>
                <c:pt idx="6">
                  <c:v>33802.58</c:v>
                </c:pt>
                <c:pt idx="7">
                  <c:v>9804.89</c:v>
                </c:pt>
                <c:pt idx="8">
                  <c:v>2242.37</c:v>
                </c:pt>
                <c:pt idx="9">
                  <c:v>6971.58</c:v>
                </c:pt>
                <c:pt idx="10">
                  <c:v>2905.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a:t>
                    </a:r>
                  </a:p>
                  <a:p>
                    <a:r>
                      <a:t>1237.16</a:t>
                    </a:r>
                  </a:p>
                </c:rich>
              </c:tx>
              <c:dLblPos val="l"/>
              <c:showLegendKey val="0"/>
              <c:showVal val="1"/>
              <c:showCatName val="0"/>
              <c:showSerName val="0"/>
              <c:showPercent val="0"/>
              <c:showBubbleSize val="0"/>
            </c:dLbl>
            <c:dLbl>
              <c:idx val="1"/>
              <c:tx>
                <c:rich>
                  <a:bodyPr/>
                  <a:lstStyle/>
                  <a:p>
                    <a:r>
                      <a:t>IX 100</a:t>
                    </a:r>
                  </a:p>
                  <a:p>
                    <a:r>
                      <a:t>1459.0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50</a:t>
                    </a:r>
                  </a:p>
                  <a:p>
                    <a:r>
                      <a:t>6261.37</a:t>
                    </a:r>
                  </a:p>
                </c:rich>
              </c:tx>
              <c:dLblPos val="l"/>
              <c:showLegendKey val="0"/>
              <c:showVal val="1"/>
              <c:showCatName val="0"/>
              <c:showSerName val="0"/>
              <c:showPercent val="0"/>
              <c:showBubbleSize val="0"/>
            </c:dLbl>
            <c:dLbl>
              <c:idx val="4"/>
              <c:tx>
                <c:rich>
                  <a:bodyPr/>
                  <a:lstStyle/>
                  <a:p>
                    <a:r>
                      <a:t>IX 100</a:t>
                    </a:r>
                  </a:p>
                  <a:p>
                    <a:r>
                      <a:t>1652.34</a:t>
                    </a:r>
                  </a:p>
                </c:rich>
              </c:tx>
              <c:dLblPos val="l"/>
              <c:showLegendKey val="0"/>
              <c:showVal val="1"/>
              <c:showCatName val="0"/>
              <c:showSerName val="0"/>
              <c:showPercent val="0"/>
              <c:showBubbleSize val="0"/>
            </c:dLbl>
            <c:dLbl>
              <c:idx val="5"/>
              <c:tx>
                <c:rich>
                  <a:bodyPr/>
                  <a:lstStyle/>
                  <a:p>
                    <a:r>
                      <a:t>IX 345</a:t>
                    </a:r>
                  </a:p>
                  <a:p>
                    <a:r>
                      <a:t>11079.5</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IX 15</a:t>
                    </a:r>
                  </a:p>
                  <a:p>
                    <a:r>
                      <a:t>808.27</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2905.99</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IX 50</c:v>
                </c:pt>
                <c:pt idx="4">
                  <c:v>IX 100</c:v>
                </c:pt>
                <c:pt idx="5">
                  <c:v>IX 345</c:v>
                </c:pt>
                <c:pt idx="6">
                  <c:v/>
                </c:pt>
                <c:pt idx="7">
                  <c:v/>
                </c:pt>
                <c:pt idx="8">
                  <c:v>IX 15</c:v>
                </c:pt>
                <c:pt idx="9">
                  <c:v/>
                </c:pt>
                <c:pt idx="10">
                  <c:v>IX 100</c:v>
                </c:pt>
                <c:pt idx="11">
                  <c:v/>
                </c:pt>
                <c:pt idx="12">
                  <c:v/>
                </c:pt>
              </c:strCache>
            </c:strRef>
          </c:cat>
          <c:val>
            <c:numRef>
              <c:f>Sheet1!$C$2:$C$14</c:f>
              <c:numCache>
                <c:formatCode>General</c:formatCode>
                <c:ptCount val="13"/>
                <c:pt idx="0">
                  <c:v>1237.16</c:v>
                </c:pt>
                <c:pt idx="1">
                  <c:v>1459.08</c:v>
                </c:pt>
                <c:pt idx="3">
                  <c:v>6261.37</c:v>
                </c:pt>
                <c:pt idx="4">
                  <c:v>1652.34</c:v>
                </c:pt>
                <c:pt idx="5">
                  <c:v>11079.5</c:v>
                </c:pt>
                <c:pt idx="8">
                  <c:v>808.27</c:v>
                </c:pt>
                <c:pt idx="10">
                  <c:v>2905.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IX 50</c:v>
                </c:pt>
                <c:pt idx="4">
                  <c:v>IX 100</c:v>
                </c:pt>
                <c:pt idx="5">
                  <c:v>IX 345</c:v>
                </c:pt>
                <c:pt idx="6">
                  <c:v/>
                </c:pt>
                <c:pt idx="7">
                  <c:v/>
                </c:pt>
                <c:pt idx="8">
                  <c:v>IX 15</c:v>
                </c:pt>
                <c:pt idx="9">
                  <c:v/>
                </c:pt>
                <c:pt idx="10">
                  <c:v>IX 100</c:v>
                </c:pt>
                <c:pt idx="11">
                  <c:v/>
                </c:pt>
                <c:pt idx="12">
                  <c:v/>
                </c:pt>
              </c:strCache>
            </c:strRef>
          </c:cat>
          <c:val>
            <c:numRef>
              <c:f>Sheet1!$D$2:$D$14</c:f>
              <c:numCache>
                <c:formatCode>General</c:formatCode>
                <c:ptCount val="13"/>
                <c:pt idx="0">
                  <c:v>12532.18</c:v>
                </c:pt>
                <c:pt idx="1">
                  <c:v>7405.62</c:v>
                </c:pt>
                <c:pt idx="2">
                  <c:v>2608.07</c:v>
                </c:pt>
                <c:pt idx="3">
                  <c:v>12672.55</c:v>
                </c:pt>
                <c:pt idx="4">
                  <c:v>2690.62</c:v>
                </c:pt>
                <c:pt idx="5">
                  <c:v>3210.89</c:v>
                </c:pt>
                <c:pt idx="6">
                  <c:v>51686.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IX 50</c:v>
                </c:pt>
                <c:pt idx="4">
                  <c:v>IX 100</c:v>
                </c:pt>
                <c:pt idx="5">
                  <c:v>IX 345</c:v>
                </c:pt>
                <c:pt idx="6">
                  <c:v/>
                </c:pt>
                <c:pt idx="7">
                  <c:v/>
                </c:pt>
                <c:pt idx="8">
                  <c:v>IX 15</c:v>
                </c:pt>
                <c:pt idx="9">
                  <c:v/>
                </c:pt>
                <c:pt idx="10">
                  <c:v>IX 100</c:v>
                </c:pt>
                <c:pt idx="11">
                  <c:v/>
                </c:pt>
                <c:pt idx="12">
                  <c:v/>
                </c:pt>
              </c:strCache>
            </c:strRef>
          </c:cat>
          <c:val>
            <c:numRef>
              <c:f>Sheet1!$E$2:$E$14</c:f>
              <c:numCache>
                <c:formatCode>General</c:formatCode>
                <c:ptCount val="13"/>
                <c:pt idx="0">
                  <c:v>8451.75</c:v>
                </c:pt>
                <c:pt idx="1">
                  <c:v>4192.05</c:v>
                </c:pt>
                <c:pt idx="2">
                  <c:v>13007.42</c:v>
                </c:pt>
                <c:pt idx="3">
                  <c:v>12383.04</c:v>
                </c:pt>
                <c:pt idx="7">
                  <c:v>8759.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IX 10</c:v>
                </c:pt>
                <c:pt idx="1">
                  <c:v>IX 100</c:v>
                </c:pt>
                <c:pt idx="2">
                  <c:v/>
                </c:pt>
                <c:pt idx="3">
                  <c:v>IX 50</c:v>
                </c:pt>
                <c:pt idx="4">
                  <c:v>IX 100</c:v>
                </c:pt>
                <c:pt idx="5">
                  <c:v>IX 345</c:v>
                </c:pt>
                <c:pt idx="6">
                  <c:v/>
                </c:pt>
                <c:pt idx="7">
                  <c:v/>
                </c:pt>
                <c:pt idx="8">
                  <c:v>IX 15</c:v>
                </c:pt>
                <c:pt idx="9">
                  <c:v/>
                </c:pt>
                <c:pt idx="10">
                  <c:v>IX 100</c:v>
                </c:pt>
                <c:pt idx="11">
                  <c:v/>
                </c:pt>
                <c:pt idx="12">
                  <c:v/>
                </c:pt>
              </c:strCache>
            </c:strRef>
          </c:cat>
          <c:val>
            <c:numRef>
              <c:f>Sheet1!$F$2:$F$14</c:f>
              <c:numCache>
                <c:formatCode>General</c:formatCode>
                <c:ptCount val="13"/>
                <c:pt idx="0">
                  <c:v>12158.3</c:v>
                </c:pt>
                <c:pt idx="1">
                  <c:v>7621.59</c:v>
                </c:pt>
                <c:pt idx="2">
                  <c:v>11787.79</c:v>
                </c:pt>
                <c:pt idx="3">
                  <c:v>12576.77</c:v>
                </c:pt>
                <c:pt idx="4">
                  <c:v>4470.32</c:v>
                </c:pt>
                <c:pt idx="5">
                  <c:v>6495.46</c:v>
                </c:pt>
                <c:pt idx="8">
                  <c:v>5257.9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86.648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68</c:v>
                </c:pt>
                <c:pt idx="2">
                  <c:v/>
                </c:pt>
                <c:pt idx="3">
                  <c:v/>
                </c:pt>
                <c:pt idx="4">
                  <c:v/>
                </c:pt>
                <c:pt idx="5">
                  <c:v/>
                </c:pt>
                <c:pt idx="6">
                  <c:v/>
                </c:pt>
                <c:pt idx="7">
                  <c:v/>
                </c:pt>
                <c:pt idx="8">
                  <c:v/>
                </c:pt>
                <c:pt idx="9">
                  <c:v/>
                </c:pt>
                <c:pt idx="10">
                  <c:v/>
                </c:pt>
                <c:pt idx="11">
                  <c:v/>
                </c:pt>
                <c:pt idx="12">
                  <c:v/>
                </c:pt>
              </c:strCache>
            </c:strRef>
          </c:cat>
          <c:val>
            <c:numRef>
              <c:f>Sheet1!$B$2:$B$14</c:f>
              <c:numCache>
                <c:formatCode>General</c:formatCode>
                <c:ptCount val="13"/>
                <c:pt idx="0">
                  <c:v>2721.58</c:v>
                </c:pt>
                <c:pt idx="1">
                  <c:v>1703.94</c:v>
                </c:pt>
                <c:pt idx="2">
                  <c:v>3123.74</c:v>
                </c:pt>
                <c:pt idx="3">
                  <c:v>12870.86</c:v>
                </c:pt>
                <c:pt idx="4">
                  <c:v>1800.86</c:v>
                </c:pt>
                <c:pt idx="5">
                  <c:v>3765.74</c:v>
                </c:pt>
                <c:pt idx="6">
                  <c:v>33802.58</c:v>
                </c:pt>
                <c:pt idx="7">
                  <c:v>9804.89</c:v>
                </c:pt>
                <c:pt idx="8">
                  <c:v>2242.37</c:v>
                </c:pt>
                <c:pt idx="9">
                  <c:v>6971.58</c:v>
                </c:pt>
                <c:pt idx="10">
                  <c:v>2905.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8</a:t>
                    </a:r>
                  </a:p>
                  <a:p>
                    <a:r>
                      <a:t>5054.0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dLbl>
              <c:idx val="12"/>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68</c:v>
                </c:pt>
                <c:pt idx="2">
                  <c:v/>
                </c:pt>
                <c:pt idx="3">
                  <c:v/>
                </c:pt>
                <c:pt idx="4">
                  <c:v/>
                </c:pt>
                <c:pt idx="5">
                  <c:v/>
                </c:pt>
                <c:pt idx="6">
                  <c:v/>
                </c:pt>
                <c:pt idx="7">
                  <c:v/>
                </c:pt>
                <c:pt idx="8">
                  <c:v/>
                </c:pt>
                <c:pt idx="9">
                  <c:v/>
                </c:pt>
                <c:pt idx="10">
                  <c:v/>
                </c:pt>
                <c:pt idx="11">
                  <c:v/>
                </c:pt>
                <c:pt idx="12">
                  <c:v/>
                </c:pt>
              </c:strCache>
            </c:strRef>
          </c:cat>
          <c:val>
            <c:numRef>
              <c:f>Sheet1!$C$2:$C$14</c:f>
              <c:numCache>
                <c:formatCode>General</c:formatCode>
                <c:ptCount val="13"/>
                <c:pt idx="1">
                  <c:v>5054.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68</c:v>
                </c:pt>
                <c:pt idx="2">
                  <c:v/>
                </c:pt>
                <c:pt idx="3">
                  <c:v/>
                </c:pt>
                <c:pt idx="4">
                  <c:v/>
                </c:pt>
                <c:pt idx="5">
                  <c:v/>
                </c:pt>
                <c:pt idx="6">
                  <c:v/>
                </c:pt>
                <c:pt idx="7">
                  <c:v/>
                </c:pt>
                <c:pt idx="8">
                  <c:v/>
                </c:pt>
                <c:pt idx="9">
                  <c:v/>
                </c:pt>
                <c:pt idx="10">
                  <c:v/>
                </c:pt>
                <c:pt idx="11">
                  <c:v/>
                </c:pt>
                <c:pt idx="12">
                  <c:v/>
                </c:pt>
              </c:strCache>
            </c:strRef>
          </c:cat>
          <c:val>
            <c:numRef>
              <c:f>Sheet1!$D$2:$D$14</c:f>
              <c:numCache>
                <c:formatCode>General</c:formatCode>
                <c:ptCount val="13"/>
                <c:pt idx="0">
                  <c:v>12532.18</c:v>
                </c:pt>
                <c:pt idx="1">
                  <c:v>7405.62</c:v>
                </c:pt>
                <c:pt idx="2">
                  <c:v>2608.07</c:v>
                </c:pt>
                <c:pt idx="3">
                  <c:v>12672.55</c:v>
                </c:pt>
                <c:pt idx="4">
                  <c:v>2690.62</c:v>
                </c:pt>
                <c:pt idx="5">
                  <c:v>3210.89</c:v>
                </c:pt>
                <c:pt idx="6">
                  <c:v>51686.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Eucer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68</c:v>
                </c:pt>
                <c:pt idx="2">
                  <c:v/>
                </c:pt>
                <c:pt idx="3">
                  <c:v/>
                </c:pt>
                <c:pt idx="4">
                  <c:v/>
                </c:pt>
                <c:pt idx="5">
                  <c:v/>
                </c:pt>
                <c:pt idx="6">
                  <c:v/>
                </c:pt>
                <c:pt idx="7">
                  <c:v/>
                </c:pt>
                <c:pt idx="8">
                  <c:v/>
                </c:pt>
                <c:pt idx="9">
                  <c:v/>
                </c:pt>
                <c:pt idx="10">
                  <c:v/>
                </c:pt>
                <c:pt idx="11">
                  <c:v/>
                </c:pt>
                <c:pt idx="12">
                  <c:v/>
                </c:pt>
              </c:strCache>
            </c:strRef>
          </c:cat>
          <c:val>
            <c:numRef>
              <c:f>Sheet1!$E$2:$E$14</c:f>
              <c:numCache>
                <c:formatCode>General</c:formatCode>
                <c:ptCount val="13"/>
                <c:pt idx="0">
                  <c:v>8451.75</c:v>
                </c:pt>
                <c:pt idx="1">
                  <c:v>4192.05</c:v>
                </c:pt>
                <c:pt idx="2">
                  <c:v>13007.42</c:v>
                </c:pt>
                <c:pt idx="3">
                  <c:v>12383.04</c:v>
                </c:pt>
                <c:pt idx="7">
                  <c:v>8759.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Roche-Posa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
                </c:pt>
                <c:pt idx="1">
                  <c:v>IX 68</c:v>
                </c:pt>
                <c:pt idx="2">
                  <c:v/>
                </c:pt>
                <c:pt idx="3">
                  <c:v/>
                </c:pt>
                <c:pt idx="4">
                  <c:v/>
                </c:pt>
                <c:pt idx="5">
                  <c:v/>
                </c:pt>
                <c:pt idx="6">
                  <c:v/>
                </c:pt>
                <c:pt idx="7">
                  <c:v/>
                </c:pt>
                <c:pt idx="8">
                  <c:v/>
                </c:pt>
                <c:pt idx="9">
                  <c:v/>
                </c:pt>
                <c:pt idx="10">
                  <c:v/>
                </c:pt>
                <c:pt idx="11">
                  <c:v/>
                </c:pt>
                <c:pt idx="12">
                  <c:v/>
                </c:pt>
              </c:strCache>
            </c:strRef>
          </c:cat>
          <c:val>
            <c:numRef>
              <c:f>Sheet1!$F$2:$F$14</c:f>
              <c:numCache>
                <c:formatCode>General</c:formatCode>
                <c:ptCount val="13"/>
                <c:pt idx="0">
                  <c:v>12158.3</c:v>
                </c:pt>
                <c:pt idx="1">
                  <c:v>7621.59</c:v>
                </c:pt>
                <c:pt idx="2">
                  <c:v>11787.79</c:v>
                </c:pt>
                <c:pt idx="3">
                  <c:v>12576.77</c:v>
                </c:pt>
                <c:pt idx="4">
                  <c:v>4470.32</c:v>
                </c:pt>
                <c:pt idx="5">
                  <c:v>6495.46</c:v>
                </c:pt>
                <c:pt idx="8">
                  <c:v>5257.9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1686.648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
                </c:pt>
                <c:pt idx="2">
                  <c:v/>
                </c:pt>
                <c:pt idx="3">
                  <c:v>IX 100</c:v>
                </c:pt>
                <c:pt idx="4">
                  <c:v/>
                </c:pt>
                <c:pt idx="5">
                  <c:v/>
                </c:pt>
                <c:pt idx="6">
                  <c:v/>
                </c:pt>
                <c:pt idx="7">
                  <c:v/>
                </c:pt>
                <c:pt idx="8">
                  <c:v/>
                </c:pt>
                <c:pt idx="9">
                  <c:v/>
                </c:pt>
                <c:pt idx="10">
                  <c:v/>
                </c:pt>
                <c:pt idx="11">
                  <c:v/>
                </c:pt>
              </c:strCache>
            </c:strRef>
          </c:cat>
          <c:val>
            <c:numRef>
              <c:f>Sheet1!$B$2:$B$13</c:f>
              <c:numCache>
                <c:formatCode>General</c:formatCode>
                <c:ptCount val="12"/>
                <c:pt idx="0">
                  <c:v>4829.91</c:v>
                </c:pt>
                <c:pt idx="1">
                  <c:v>13315.27</c:v>
                </c:pt>
                <c:pt idx="2">
                  <c:v>4477.9</c:v>
                </c:pt>
                <c:pt idx="3">
                  <c:v>2076.16</c:v>
                </c:pt>
                <c:pt idx="4">
                  <c:v>4342.32</c:v>
                </c:pt>
                <c:pt idx="5">
                  <c:v>37224.85</c:v>
                </c:pt>
                <c:pt idx="6">
                  <c:v>2191.25</c:v>
                </c:pt>
                <c:pt idx="7">
                  <c:v>10425.96</c:v>
                </c:pt>
                <c:pt idx="8">
                  <c:v>2931.03</c:v>
                </c:pt>
                <c:pt idx="9">
                  <c:v>8041.06</c:v>
                </c:pt>
                <c:pt idx="10">
                  <c:v>5995.1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a:t>
                    </a:r>
                  </a:p>
                  <a:p>
                    <a:r>
                      <a:t>1272.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432.95</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
                </c:pt>
                <c:pt idx="2">
                  <c:v/>
                </c:pt>
                <c:pt idx="3">
                  <c:v>IX 100</c:v>
                </c:pt>
                <c:pt idx="4">
                  <c:v/>
                </c:pt>
                <c:pt idx="5">
                  <c:v/>
                </c:pt>
                <c:pt idx="6">
                  <c:v/>
                </c:pt>
                <c:pt idx="7">
                  <c:v/>
                </c:pt>
                <c:pt idx="8">
                  <c:v/>
                </c:pt>
                <c:pt idx="9">
                  <c:v/>
                </c:pt>
                <c:pt idx="10">
                  <c:v/>
                </c:pt>
                <c:pt idx="11">
                  <c:v/>
                </c:pt>
              </c:strCache>
            </c:strRef>
          </c:cat>
          <c:val>
            <c:numRef>
              <c:f>Sheet1!$C$2:$C$13</c:f>
              <c:numCache>
                <c:formatCode>General</c:formatCode>
                <c:ptCount val="12"/>
                <c:pt idx="0">
                  <c:v>1272.6</c:v>
                </c:pt>
                <c:pt idx="3">
                  <c:v>1432.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
                </c:pt>
                <c:pt idx="2">
                  <c:v/>
                </c:pt>
                <c:pt idx="3">
                  <c:v>IX 100</c:v>
                </c:pt>
                <c:pt idx="4">
                  <c:v/>
                </c:pt>
                <c:pt idx="5">
                  <c:v/>
                </c:pt>
                <c:pt idx="6">
                  <c:v/>
                </c:pt>
                <c:pt idx="7">
                  <c:v/>
                </c:pt>
                <c:pt idx="8">
                  <c:v/>
                </c:pt>
                <c:pt idx="9">
                  <c:v/>
                </c:pt>
                <c:pt idx="10">
                  <c:v/>
                </c:pt>
                <c:pt idx="11">
                  <c:v/>
                </c:pt>
              </c:strCache>
            </c:strRef>
          </c:cat>
          <c:val>
            <c:numRef>
              <c:f>Sheet1!$D$2:$D$13</c:f>
              <c:numCache>
                <c:formatCode>General</c:formatCode>
                <c:ptCount val="12"/>
                <c:pt idx="0">
                  <c:v>12586.15</c:v>
                </c:pt>
                <c:pt idx="1">
                  <c:v>12840.98</c:v>
                </c:pt>
                <c:pt idx="2">
                  <c:v>2613.65</c:v>
                </c:pt>
                <c:pt idx="3">
                  <c:v>7407.64</c:v>
                </c:pt>
                <c:pt idx="4">
                  <c:v>3251.36</c:v>
                </c:pt>
                <c:pt idx="5">
                  <c:v>52262.69</c:v>
                </c:pt>
                <c:pt idx="6">
                  <c:v>2729.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
                </c:pt>
                <c:pt idx="2">
                  <c:v/>
                </c:pt>
                <c:pt idx="3">
                  <c:v>IX 100</c:v>
                </c:pt>
                <c:pt idx="4">
                  <c:v/>
                </c:pt>
                <c:pt idx="5">
                  <c:v/>
                </c:pt>
                <c:pt idx="6">
                  <c:v/>
                </c:pt>
                <c:pt idx="7">
                  <c:v/>
                </c:pt>
                <c:pt idx="8">
                  <c:v/>
                </c:pt>
                <c:pt idx="9">
                  <c:v/>
                </c:pt>
                <c:pt idx="10">
                  <c:v/>
                </c:pt>
                <c:pt idx="11">
                  <c:v/>
                </c:pt>
              </c:strCache>
            </c:strRef>
          </c:cat>
          <c:val>
            <c:numRef>
              <c:f>Sheet1!$E$2:$E$13</c:f>
              <c:numCache>
                <c:formatCode>General</c:formatCode>
                <c:ptCount val="12"/>
                <c:pt idx="0">
                  <c:v>12327.96</c:v>
                </c:pt>
                <c:pt idx="1">
                  <c:v>12628.12</c:v>
                </c:pt>
                <c:pt idx="2">
                  <c:v>11795.75</c:v>
                </c:pt>
                <c:pt idx="3">
                  <c:v>7674.68</c:v>
                </c:pt>
                <c:pt idx="4">
                  <c:v>6572.08</c:v>
                </c:pt>
                <c:pt idx="6">
                  <c:v>4304.04</c:v>
                </c:pt>
                <c:pt idx="8">
                  <c:v>5221.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0</c:v>
                </c:pt>
                <c:pt idx="1">
                  <c:v/>
                </c:pt>
                <c:pt idx="2">
                  <c:v/>
                </c:pt>
                <c:pt idx="3">
                  <c:v>IX 100</c:v>
                </c:pt>
                <c:pt idx="4">
                  <c:v/>
                </c:pt>
                <c:pt idx="5">
                  <c:v/>
                </c:pt>
                <c:pt idx="6">
                  <c:v/>
                </c:pt>
                <c:pt idx="7">
                  <c:v/>
                </c:pt>
                <c:pt idx="8">
                  <c:v/>
                </c:pt>
                <c:pt idx="9">
                  <c:v/>
                </c:pt>
                <c:pt idx="10">
                  <c:v/>
                </c:pt>
                <c:pt idx="11">
                  <c:v/>
                </c:pt>
              </c:strCache>
            </c:strRef>
          </c:cat>
          <c:val>
            <c:numRef>
              <c:f>Sheet1!$F$2:$F$13</c:f>
              <c:numCache>
                <c:formatCode>General</c:formatCode>
                <c:ptCount val="12"/>
                <c:pt idx="0">
                  <c:v>8465.23</c:v>
                </c:pt>
                <c:pt idx="1">
                  <c:v>12652.35</c:v>
                </c:pt>
                <c:pt idx="2">
                  <c:v>13134.66</c:v>
                </c:pt>
                <c:pt idx="3">
                  <c:v>4196.18</c:v>
                </c:pt>
                <c:pt idx="7">
                  <c:v>9360.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63.188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9</c:v>
                </c:pt>
                <c:pt idx="5">
                  <c:v/>
                </c:pt>
                <c:pt idx="6">
                  <c:v>IX 100</c:v>
                </c:pt>
                <c:pt idx="7">
                  <c:v/>
                </c:pt>
                <c:pt idx="8">
                  <c:v/>
                </c:pt>
                <c:pt idx="9">
                  <c:v/>
                </c:pt>
                <c:pt idx="10">
                  <c:v>IX 100</c:v>
                </c:pt>
                <c:pt idx="11">
                  <c:v/>
                </c:pt>
              </c:strCache>
            </c:strRef>
          </c:cat>
          <c:val>
            <c:numRef>
              <c:f>Sheet1!$B$2:$B$13</c:f>
              <c:numCache>
                <c:formatCode>General</c:formatCode>
                <c:ptCount val="12"/>
                <c:pt idx="0">
                  <c:v>4829.91</c:v>
                </c:pt>
                <c:pt idx="1">
                  <c:v>13315.27</c:v>
                </c:pt>
                <c:pt idx="2">
                  <c:v>4477.9</c:v>
                </c:pt>
                <c:pt idx="3">
                  <c:v>2076.16</c:v>
                </c:pt>
                <c:pt idx="4">
                  <c:v>4342.32</c:v>
                </c:pt>
                <c:pt idx="5">
                  <c:v>37224.85</c:v>
                </c:pt>
                <c:pt idx="6">
                  <c:v>2191.25</c:v>
                </c:pt>
                <c:pt idx="7">
                  <c:v>10425.96</c:v>
                </c:pt>
                <c:pt idx="8">
                  <c:v>2931.03</c:v>
                </c:pt>
                <c:pt idx="9">
                  <c:v>8041.06</c:v>
                </c:pt>
                <c:pt idx="10">
                  <c:v>5995.1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a:t>
                    </a:r>
                  </a:p>
                  <a:p>
                    <a:r>
                      <a:t>1420.15</a:t>
                    </a:r>
                  </a:p>
                </c:rich>
              </c:tx>
              <c:dLblPos val="l"/>
              <c:showLegendKey val="0"/>
              <c:showVal val="1"/>
              <c:showCatName val="0"/>
              <c:showSerName val="0"/>
              <c:showPercent val="0"/>
              <c:showBubbleSize val="0"/>
            </c:dLbl>
            <c:dLbl>
              <c:idx val="1"/>
              <c:tx>
                <c:rich>
                  <a:bodyPr/>
                  <a:lstStyle/>
                  <a:p>
                    <a:r>
                      <a:t>IX 0</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539.83</a:t>
                    </a:r>
                  </a:p>
                </c:rich>
              </c:tx>
              <c:dLblPos val="l"/>
              <c:showLegendKey val="0"/>
              <c:showVal val="1"/>
              <c:showCatName val="0"/>
              <c:showSerName val="0"/>
              <c:showPercent val="0"/>
              <c:showBubbleSize val="0"/>
            </c:dLbl>
            <c:dLbl>
              <c:idx val="4"/>
              <c:tx>
                <c:rich>
                  <a:bodyPr/>
                  <a:lstStyle/>
                  <a:p>
                    <a:r>
                      <a:t>IX 169</a:t>
                    </a:r>
                  </a:p>
                  <a:p>
                    <a:r>
                      <a:t>11079.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IX 100</a:t>
                    </a:r>
                  </a:p>
                  <a:p>
                    <a:r>
                      <a:t>1910.72</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IX 100</a:t>
                    </a:r>
                  </a:p>
                  <a:p>
                    <a:r>
                      <a:t>5995.11</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9</c:v>
                </c:pt>
                <c:pt idx="5">
                  <c:v/>
                </c:pt>
                <c:pt idx="6">
                  <c:v>IX 100</c:v>
                </c:pt>
                <c:pt idx="7">
                  <c:v/>
                </c:pt>
                <c:pt idx="8">
                  <c:v/>
                </c:pt>
                <c:pt idx="9">
                  <c:v/>
                </c:pt>
                <c:pt idx="10">
                  <c:v>IX 100</c:v>
                </c:pt>
                <c:pt idx="11">
                  <c:v/>
                </c:pt>
              </c:strCache>
            </c:strRef>
          </c:cat>
          <c:val>
            <c:numRef>
              <c:f>Sheet1!$C$2:$C$13</c:f>
              <c:numCache>
                <c:formatCode>General</c:formatCode>
                <c:ptCount val="12"/>
                <c:pt idx="0">
                  <c:v>1420.15</c:v>
                </c:pt>
                <c:pt idx="3">
                  <c:v>1539.83</c:v>
                </c:pt>
                <c:pt idx="4">
                  <c:v>11079.5</c:v>
                </c:pt>
                <c:pt idx="6">
                  <c:v>1910.72</c:v>
                </c:pt>
                <c:pt idx="10">
                  <c:v>5995.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9</c:v>
                </c:pt>
                <c:pt idx="5">
                  <c:v/>
                </c:pt>
                <c:pt idx="6">
                  <c:v>IX 100</c:v>
                </c:pt>
                <c:pt idx="7">
                  <c:v/>
                </c:pt>
                <c:pt idx="8">
                  <c:v/>
                </c:pt>
                <c:pt idx="9">
                  <c:v/>
                </c:pt>
                <c:pt idx="10">
                  <c:v>IX 100</c:v>
                </c:pt>
                <c:pt idx="11">
                  <c:v/>
                </c:pt>
              </c:strCache>
            </c:strRef>
          </c:cat>
          <c:val>
            <c:numRef>
              <c:f>Sheet1!$D$2:$D$13</c:f>
              <c:numCache>
                <c:formatCode>General</c:formatCode>
                <c:ptCount val="12"/>
                <c:pt idx="0">
                  <c:v>12586.15</c:v>
                </c:pt>
                <c:pt idx="1">
                  <c:v>12840.98</c:v>
                </c:pt>
                <c:pt idx="2">
                  <c:v>2613.65</c:v>
                </c:pt>
                <c:pt idx="3">
                  <c:v>7407.64</c:v>
                </c:pt>
                <c:pt idx="4">
                  <c:v>3251.36</c:v>
                </c:pt>
                <c:pt idx="5">
                  <c:v>52262.69</c:v>
                </c:pt>
                <c:pt idx="6">
                  <c:v>2729.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9</c:v>
                </c:pt>
                <c:pt idx="5">
                  <c:v/>
                </c:pt>
                <c:pt idx="6">
                  <c:v>IX 100</c:v>
                </c:pt>
                <c:pt idx="7">
                  <c:v/>
                </c:pt>
                <c:pt idx="8">
                  <c:v/>
                </c:pt>
                <c:pt idx="9">
                  <c:v/>
                </c:pt>
                <c:pt idx="10">
                  <c:v>IX 100</c:v>
                </c:pt>
                <c:pt idx="11">
                  <c:v/>
                </c:pt>
              </c:strCache>
            </c:strRef>
          </c:cat>
          <c:val>
            <c:numRef>
              <c:f>Sheet1!$E$2:$E$13</c:f>
              <c:numCache>
                <c:formatCode>General</c:formatCode>
                <c:ptCount val="12"/>
                <c:pt idx="0">
                  <c:v>12327.96</c:v>
                </c:pt>
                <c:pt idx="1">
                  <c:v>12628.12</c:v>
                </c:pt>
                <c:pt idx="2">
                  <c:v>11795.75</c:v>
                </c:pt>
                <c:pt idx="3">
                  <c:v>7674.68</c:v>
                </c:pt>
                <c:pt idx="4">
                  <c:v>6572.08</c:v>
                </c:pt>
                <c:pt idx="6">
                  <c:v>4304.04</c:v>
                </c:pt>
                <c:pt idx="8">
                  <c:v>5221.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11</c:v>
                </c:pt>
                <c:pt idx="1">
                  <c:v>IX 0</c:v>
                </c:pt>
                <c:pt idx="2">
                  <c:v/>
                </c:pt>
                <c:pt idx="3">
                  <c:v>IX 100</c:v>
                </c:pt>
                <c:pt idx="4">
                  <c:v>IX 169</c:v>
                </c:pt>
                <c:pt idx="5">
                  <c:v/>
                </c:pt>
                <c:pt idx="6">
                  <c:v>IX 100</c:v>
                </c:pt>
                <c:pt idx="7">
                  <c:v/>
                </c:pt>
                <c:pt idx="8">
                  <c:v/>
                </c:pt>
                <c:pt idx="9">
                  <c:v/>
                </c:pt>
                <c:pt idx="10">
                  <c:v>IX 100</c:v>
                </c:pt>
                <c:pt idx="11">
                  <c:v/>
                </c:pt>
              </c:strCache>
            </c:strRef>
          </c:cat>
          <c:val>
            <c:numRef>
              <c:f>Sheet1!$F$2:$F$13</c:f>
              <c:numCache>
                <c:formatCode>General</c:formatCode>
                <c:ptCount val="12"/>
                <c:pt idx="0">
                  <c:v>8465.23</c:v>
                </c:pt>
                <c:pt idx="1">
                  <c:v>12652.35</c:v>
                </c:pt>
                <c:pt idx="2">
                  <c:v>13134.66</c:v>
                </c:pt>
                <c:pt idx="3">
                  <c:v>4196.18</c:v>
                </c:pt>
                <c:pt idx="7">
                  <c:v>9360.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63.188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298</c:v>
                </c:pt>
                <c:pt idx="4">
                  <c:v/>
                </c:pt>
                <c:pt idx="5">
                  <c:v/>
                </c:pt>
                <c:pt idx="6">
                  <c:v/>
                </c:pt>
                <c:pt idx="7">
                  <c:v/>
                </c:pt>
                <c:pt idx="8">
                  <c:v/>
                </c:pt>
                <c:pt idx="9">
                  <c:v/>
                </c:pt>
                <c:pt idx="10">
                  <c:v/>
                </c:pt>
                <c:pt idx="11">
                  <c:v/>
                </c:pt>
              </c:strCache>
            </c:strRef>
          </c:cat>
          <c:val>
            <c:numRef>
              <c:f>Sheet1!$B$2:$B$13</c:f>
              <c:numCache>
                <c:formatCode>General</c:formatCode>
                <c:ptCount val="12"/>
                <c:pt idx="0">
                  <c:v>4829.91</c:v>
                </c:pt>
                <c:pt idx="1">
                  <c:v>13315.27</c:v>
                </c:pt>
                <c:pt idx="2">
                  <c:v>4477.9</c:v>
                </c:pt>
                <c:pt idx="3">
                  <c:v>2076.16</c:v>
                </c:pt>
                <c:pt idx="4">
                  <c:v>4342.32</c:v>
                </c:pt>
                <c:pt idx="5">
                  <c:v>37224.85</c:v>
                </c:pt>
                <c:pt idx="6">
                  <c:v>2191.25</c:v>
                </c:pt>
                <c:pt idx="7">
                  <c:v>10425.96</c:v>
                </c:pt>
                <c:pt idx="8">
                  <c:v>2931.03</c:v>
                </c:pt>
                <c:pt idx="9">
                  <c:v>8041.06</c:v>
                </c:pt>
                <c:pt idx="10">
                  <c:v>5995.1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298</a:t>
                    </a:r>
                  </a:p>
                  <a:p>
                    <a:r>
                      <a:t>22101.2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298</c:v>
                </c:pt>
                <c:pt idx="4">
                  <c:v/>
                </c:pt>
                <c:pt idx="5">
                  <c:v/>
                </c:pt>
                <c:pt idx="6">
                  <c:v/>
                </c:pt>
                <c:pt idx="7">
                  <c:v/>
                </c:pt>
                <c:pt idx="8">
                  <c:v/>
                </c:pt>
                <c:pt idx="9">
                  <c:v/>
                </c:pt>
                <c:pt idx="10">
                  <c:v/>
                </c:pt>
                <c:pt idx="11">
                  <c:v/>
                </c:pt>
              </c:strCache>
            </c:strRef>
          </c:cat>
          <c:val>
            <c:numRef>
              <c:f>Sheet1!$C$2:$C$13</c:f>
              <c:numCache>
                <c:formatCode>General</c:formatCode>
                <c:ptCount val="12"/>
                <c:pt idx="3">
                  <c:v>22101.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Isdin</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298</c:v>
                </c:pt>
                <c:pt idx="4">
                  <c:v/>
                </c:pt>
                <c:pt idx="5">
                  <c:v/>
                </c:pt>
                <c:pt idx="6">
                  <c:v/>
                </c:pt>
                <c:pt idx="7">
                  <c:v/>
                </c:pt>
                <c:pt idx="8">
                  <c:v/>
                </c:pt>
                <c:pt idx="9">
                  <c:v/>
                </c:pt>
                <c:pt idx="10">
                  <c:v/>
                </c:pt>
                <c:pt idx="11">
                  <c:v/>
                </c:pt>
              </c:strCache>
            </c:strRef>
          </c:cat>
          <c:val>
            <c:numRef>
              <c:f>Sheet1!$D$2:$D$13</c:f>
              <c:numCache>
                <c:formatCode>General</c:formatCode>
                <c:ptCount val="12"/>
                <c:pt idx="0">
                  <c:v>12586.15</c:v>
                </c:pt>
                <c:pt idx="1">
                  <c:v>12840.98</c:v>
                </c:pt>
                <c:pt idx="2">
                  <c:v>2613.65</c:v>
                </c:pt>
                <c:pt idx="3">
                  <c:v>7407.64</c:v>
                </c:pt>
                <c:pt idx="4">
                  <c:v>3251.36</c:v>
                </c:pt>
                <c:pt idx="5">
                  <c:v>52262.69</c:v>
                </c:pt>
                <c:pt idx="6">
                  <c:v>2729.1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298</c:v>
                </c:pt>
                <c:pt idx="4">
                  <c:v/>
                </c:pt>
                <c:pt idx="5">
                  <c:v/>
                </c:pt>
                <c:pt idx="6">
                  <c:v/>
                </c:pt>
                <c:pt idx="7">
                  <c:v/>
                </c:pt>
                <c:pt idx="8">
                  <c:v/>
                </c:pt>
                <c:pt idx="9">
                  <c:v/>
                </c:pt>
                <c:pt idx="10">
                  <c:v/>
                </c:pt>
                <c:pt idx="11">
                  <c:v/>
                </c:pt>
              </c:strCache>
            </c:strRef>
          </c:cat>
          <c:val>
            <c:numRef>
              <c:f>Sheet1!$E$2:$E$13</c:f>
              <c:numCache>
                <c:formatCode>General</c:formatCode>
                <c:ptCount val="12"/>
                <c:pt idx="0">
                  <c:v>12327.96</c:v>
                </c:pt>
                <c:pt idx="1">
                  <c:v>12628.12</c:v>
                </c:pt>
                <c:pt idx="2">
                  <c:v>11795.75</c:v>
                </c:pt>
                <c:pt idx="3">
                  <c:v>7674.68</c:v>
                </c:pt>
                <c:pt idx="4">
                  <c:v>6572.08</c:v>
                </c:pt>
                <c:pt idx="6">
                  <c:v>4304.04</c:v>
                </c:pt>
                <c:pt idx="8">
                  <c:v>5221.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
                </c:pt>
                <c:pt idx="2">
                  <c:v/>
                </c:pt>
                <c:pt idx="3">
                  <c:v>IX 298</c:v>
                </c:pt>
                <c:pt idx="4">
                  <c:v/>
                </c:pt>
                <c:pt idx="5">
                  <c:v/>
                </c:pt>
                <c:pt idx="6">
                  <c:v/>
                </c:pt>
                <c:pt idx="7">
                  <c:v/>
                </c:pt>
                <c:pt idx="8">
                  <c:v/>
                </c:pt>
                <c:pt idx="9">
                  <c:v/>
                </c:pt>
                <c:pt idx="10">
                  <c:v/>
                </c:pt>
                <c:pt idx="11">
                  <c:v/>
                </c:pt>
              </c:strCache>
            </c:strRef>
          </c:cat>
          <c:val>
            <c:numRef>
              <c:f>Sheet1!$F$2:$F$13</c:f>
              <c:numCache>
                <c:formatCode>General</c:formatCode>
                <c:ptCount val="12"/>
                <c:pt idx="0">
                  <c:v>8465.23</c:v>
                </c:pt>
                <c:pt idx="1">
                  <c:v>12652.35</c:v>
                </c:pt>
                <c:pt idx="2">
                  <c:v>13134.66</c:v>
                </c:pt>
                <c:pt idx="3">
                  <c:v>4196.18</c:v>
                </c:pt>
                <c:pt idx="7">
                  <c:v>9360.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263.1888"/>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5</c:v>
                </c:pt>
                <c:pt idx="1">
                  <c:v>IX 86</c:v>
                </c:pt>
                <c:pt idx="2">
                  <c:v/>
                </c:pt>
                <c:pt idx="3">
                  <c:v/>
                </c:pt>
                <c:pt idx="4">
                  <c:v/>
                </c:pt>
                <c:pt idx="5">
                  <c:v/>
                </c:pt>
                <c:pt idx="6">
                  <c:v/>
                </c:pt>
                <c:pt idx="7">
                  <c:v/>
                </c:pt>
                <c:pt idx="8">
                  <c:v/>
                </c:pt>
              </c:strCache>
            </c:strRef>
          </c:cat>
          <c:val>
            <c:numRef>
              <c:f>Sheet1!$B$2:$B$10</c:f>
              <c:numCache>
                <c:formatCode>General</c:formatCode>
                <c:ptCount val="9"/>
                <c:pt idx="0">
                  <c:v>1373.36</c:v>
                </c:pt>
                <c:pt idx="1">
                  <c:v>1443.93</c:v>
                </c:pt>
                <c:pt idx="2">
                  <c:v>1802.64</c:v>
                </c:pt>
                <c:pt idx="3">
                  <c:v>1635.95</c:v>
                </c:pt>
                <c:pt idx="4">
                  <c:v>816.28</c:v>
                </c:pt>
                <c:pt idx="5">
                  <c:v>12933.64</c:v>
                </c:pt>
                <c:pt idx="6">
                  <c:v>6027.0</c:v>
                </c:pt>
                <c:pt idx="7">
                  <c:v>18750.0</c:v>
                </c:pt>
                <c:pt idx="8">
                  <c:v>2339.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5</a:t>
                    </a:r>
                  </a:p>
                  <a:p>
                    <a:r>
                      <a:t>1181.13</a:t>
                    </a:r>
                  </a:p>
                </c:rich>
              </c:tx>
              <c:dLblPos val="l"/>
              <c:showLegendKey val="0"/>
              <c:showVal val="1"/>
              <c:showCatName val="0"/>
              <c:showSerName val="0"/>
              <c:showPercent val="0"/>
              <c:showBubbleSize val="0"/>
            </c:dLbl>
            <c:dLbl>
              <c:idx val="1"/>
              <c:tx>
                <c:rich>
                  <a:bodyPr/>
                  <a:lstStyle/>
                  <a:p>
                    <a:r>
                      <a:t>IX 86</a:t>
                    </a:r>
                  </a:p>
                  <a:p>
                    <a:r>
                      <a:t>1268.7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5</c:v>
                </c:pt>
                <c:pt idx="1">
                  <c:v>IX 86</c:v>
                </c:pt>
                <c:pt idx="2">
                  <c:v/>
                </c:pt>
                <c:pt idx="3">
                  <c:v/>
                </c:pt>
                <c:pt idx="4">
                  <c:v/>
                </c:pt>
                <c:pt idx="5">
                  <c:v/>
                </c:pt>
                <c:pt idx="6">
                  <c:v/>
                </c:pt>
                <c:pt idx="7">
                  <c:v/>
                </c:pt>
                <c:pt idx="8">
                  <c:v/>
                </c:pt>
              </c:strCache>
            </c:strRef>
          </c:cat>
          <c:val>
            <c:numRef>
              <c:f>Sheet1!$C$2:$C$10</c:f>
              <c:numCache>
                <c:formatCode>General</c:formatCode>
                <c:ptCount val="9"/>
                <c:pt idx="0">
                  <c:v>1181.13</c:v>
                </c:pt>
                <c:pt idx="1">
                  <c:v>1268.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5</c:v>
                </c:pt>
                <c:pt idx="1">
                  <c:v>IX 86</c:v>
                </c:pt>
                <c:pt idx="2">
                  <c:v/>
                </c:pt>
                <c:pt idx="3">
                  <c:v/>
                </c:pt>
                <c:pt idx="4">
                  <c:v/>
                </c:pt>
                <c:pt idx="5">
                  <c:v/>
                </c:pt>
                <c:pt idx="6">
                  <c:v/>
                </c:pt>
                <c:pt idx="7">
                  <c:v/>
                </c:pt>
                <c:pt idx="8">
                  <c:v/>
                </c:pt>
              </c:strCache>
            </c:strRef>
          </c:cat>
          <c:val>
            <c:numRef>
              <c:f>Sheet1!$D$2:$D$10</c:f>
              <c:numCache>
                <c:formatCode>General</c:formatCode>
                <c:ptCount val="9"/>
                <c:pt idx="0">
                  <c:v>2635.83</c:v>
                </c:pt>
                <c:pt idx="1">
                  <c:v>1483.28</c:v>
                </c:pt>
                <c:pt idx="2">
                  <c:v>1738.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5</c:v>
                </c:pt>
                <c:pt idx="1">
                  <c:v>IX 86</c:v>
                </c:pt>
                <c:pt idx="2">
                  <c:v/>
                </c:pt>
                <c:pt idx="3">
                  <c:v/>
                </c:pt>
                <c:pt idx="4">
                  <c:v/>
                </c:pt>
                <c:pt idx="5">
                  <c:v/>
                </c:pt>
                <c:pt idx="6">
                  <c:v/>
                </c:pt>
                <c:pt idx="7">
                  <c:v/>
                </c:pt>
                <c:pt idx="8">
                  <c:v/>
                </c:pt>
              </c:strCache>
            </c:strRef>
          </c:cat>
          <c:val>
            <c:numRef>
              <c:f>Sheet1!$E$2:$E$10</c:f>
              <c:numCache>
                <c:formatCode>General</c:formatCode>
                <c:ptCount val="9"/>
                <c:pt idx="0">
                  <c:v>9003.47</c:v>
                </c:pt>
                <c:pt idx="2">
                  <c:v>1957.33</c:v>
                </c:pt>
                <c:pt idx="5">
                  <c:v>12933.6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5</c:v>
                </c:pt>
                <c:pt idx="1">
                  <c:v>IX 86</c:v>
                </c:pt>
                <c:pt idx="2">
                  <c:v/>
                </c:pt>
                <c:pt idx="3">
                  <c:v/>
                </c:pt>
                <c:pt idx="4">
                  <c:v/>
                </c:pt>
                <c:pt idx="5">
                  <c:v/>
                </c:pt>
                <c:pt idx="6">
                  <c:v/>
                </c:pt>
                <c:pt idx="7">
                  <c:v/>
                </c:pt>
                <c:pt idx="8">
                  <c:v/>
                </c:pt>
              </c:strCache>
            </c:strRef>
          </c:cat>
          <c:val>
            <c:numRef>
              <c:f>Sheet1!$F$2:$F$10</c:f>
              <c:numCache>
                <c:formatCode>General</c:formatCode>
                <c:ptCount val="9"/>
                <c:pt idx="6">
                  <c:v>6027.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0.5"/>
          <c:min val="815.78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0</c:v>
                </c:pt>
                <c:pt idx="1">
                  <c:v>IX 85</c:v>
                </c:pt>
                <c:pt idx="2">
                  <c:v/>
                </c:pt>
                <c:pt idx="3">
                  <c:v>IX 100</c:v>
                </c:pt>
                <c:pt idx="4">
                  <c:v>IX 100</c:v>
                </c:pt>
                <c:pt idx="5">
                  <c:v/>
                </c:pt>
                <c:pt idx="6">
                  <c:v/>
                </c:pt>
                <c:pt idx="7">
                  <c:v/>
                </c:pt>
                <c:pt idx="8">
                  <c:v/>
                </c:pt>
              </c:strCache>
            </c:strRef>
          </c:cat>
          <c:val>
            <c:numRef>
              <c:f>Sheet1!$B$2:$B$10</c:f>
              <c:numCache>
                <c:formatCode>General</c:formatCode>
                <c:ptCount val="9"/>
                <c:pt idx="0">
                  <c:v>1373.36</c:v>
                </c:pt>
                <c:pt idx="1">
                  <c:v>1443.93</c:v>
                </c:pt>
                <c:pt idx="2">
                  <c:v>1802.64</c:v>
                </c:pt>
                <c:pt idx="3">
                  <c:v>1635.95</c:v>
                </c:pt>
                <c:pt idx="4">
                  <c:v>816.28</c:v>
                </c:pt>
                <c:pt idx="5">
                  <c:v>12933.64</c:v>
                </c:pt>
                <c:pt idx="6">
                  <c:v>6027.0</c:v>
                </c:pt>
                <c:pt idx="7">
                  <c:v>18750.0</c:v>
                </c:pt>
                <c:pt idx="8">
                  <c:v>2339.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0</a:t>
                    </a:r>
                  </a:p>
                  <a:p>
                    <a:r>
                      <a:t>1052.23</a:t>
                    </a:r>
                  </a:p>
                </c:rich>
              </c:tx>
              <c:dLblPos val="l"/>
              <c:showLegendKey val="0"/>
              <c:showVal val="1"/>
              <c:showCatName val="0"/>
              <c:showSerName val="0"/>
              <c:showPercent val="0"/>
              <c:showBubbleSize val="0"/>
            </c:dLbl>
            <c:dLbl>
              <c:idx val="1"/>
              <c:tx>
                <c:rich>
                  <a:bodyPr/>
                  <a:lstStyle/>
                  <a:p>
                    <a:r>
                      <a:t>IX 85</a:t>
                    </a:r>
                  </a:p>
                  <a:p>
                    <a:r>
                      <a:t>1262.0</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715.29</a:t>
                    </a:r>
                  </a:p>
                </c:rich>
              </c:tx>
              <c:dLblPos val="l"/>
              <c:showLegendKey val="0"/>
              <c:showVal val="1"/>
              <c:showCatName val="0"/>
              <c:showSerName val="0"/>
              <c:showPercent val="0"/>
              <c:showBubbleSize val="0"/>
            </c:dLbl>
            <c:dLbl>
              <c:idx val="4"/>
              <c:tx>
                <c:rich>
                  <a:bodyPr/>
                  <a:lstStyle/>
                  <a:p>
                    <a:r>
                      <a:t>IX 100</a:t>
                    </a:r>
                  </a:p>
                  <a:p>
                    <a:r>
                      <a:t>953.3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0</c:v>
                </c:pt>
                <c:pt idx="1">
                  <c:v>IX 85</c:v>
                </c:pt>
                <c:pt idx="2">
                  <c:v/>
                </c:pt>
                <c:pt idx="3">
                  <c:v>IX 100</c:v>
                </c:pt>
                <c:pt idx="4">
                  <c:v>IX 100</c:v>
                </c:pt>
                <c:pt idx="5">
                  <c:v/>
                </c:pt>
                <c:pt idx="6">
                  <c:v/>
                </c:pt>
                <c:pt idx="7">
                  <c:v/>
                </c:pt>
                <c:pt idx="8">
                  <c:v/>
                </c:pt>
              </c:strCache>
            </c:strRef>
          </c:cat>
          <c:val>
            <c:numRef>
              <c:f>Sheet1!$C$2:$C$10</c:f>
              <c:numCache>
                <c:formatCode>General</c:formatCode>
                <c:ptCount val="9"/>
                <c:pt idx="0">
                  <c:v>1052.23</c:v>
                </c:pt>
                <c:pt idx="1">
                  <c:v>1262.0</c:v>
                </c:pt>
                <c:pt idx="3">
                  <c:v>1715.29</c:v>
                </c:pt>
                <c:pt idx="4">
                  <c:v>95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0</c:v>
                </c:pt>
                <c:pt idx="1">
                  <c:v>IX 85</c:v>
                </c:pt>
                <c:pt idx="2">
                  <c:v/>
                </c:pt>
                <c:pt idx="3">
                  <c:v>IX 100</c:v>
                </c:pt>
                <c:pt idx="4">
                  <c:v>IX 100</c:v>
                </c:pt>
                <c:pt idx="5">
                  <c:v/>
                </c:pt>
                <c:pt idx="6">
                  <c:v/>
                </c:pt>
                <c:pt idx="7">
                  <c:v/>
                </c:pt>
                <c:pt idx="8">
                  <c:v/>
                </c:pt>
              </c:strCache>
            </c:strRef>
          </c:cat>
          <c:val>
            <c:numRef>
              <c:f>Sheet1!$D$2:$D$10</c:f>
              <c:numCache>
                <c:formatCode>General</c:formatCode>
                <c:ptCount val="9"/>
                <c:pt idx="0">
                  <c:v>2635.83</c:v>
                </c:pt>
                <c:pt idx="1">
                  <c:v>1483.28</c:v>
                </c:pt>
                <c:pt idx="2">
                  <c:v>1738.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0</c:v>
                </c:pt>
                <c:pt idx="1">
                  <c:v>IX 85</c:v>
                </c:pt>
                <c:pt idx="2">
                  <c:v/>
                </c:pt>
                <c:pt idx="3">
                  <c:v>IX 100</c:v>
                </c:pt>
                <c:pt idx="4">
                  <c:v>IX 100</c:v>
                </c:pt>
                <c:pt idx="5">
                  <c:v/>
                </c:pt>
                <c:pt idx="6">
                  <c:v/>
                </c:pt>
                <c:pt idx="7">
                  <c:v/>
                </c:pt>
                <c:pt idx="8">
                  <c:v/>
                </c:pt>
              </c:strCache>
            </c:strRef>
          </c:cat>
          <c:val>
            <c:numRef>
              <c:f>Sheet1!$E$2:$E$10</c:f>
              <c:numCache>
                <c:formatCode>General</c:formatCode>
                <c:ptCount val="9"/>
                <c:pt idx="0">
                  <c:v>9003.47</c:v>
                </c:pt>
                <c:pt idx="2">
                  <c:v>1957.33</c:v>
                </c:pt>
                <c:pt idx="5">
                  <c:v>12933.6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X 40</c:v>
                </c:pt>
                <c:pt idx="1">
                  <c:v>IX 85</c:v>
                </c:pt>
                <c:pt idx="2">
                  <c:v/>
                </c:pt>
                <c:pt idx="3">
                  <c:v>IX 100</c:v>
                </c:pt>
                <c:pt idx="4">
                  <c:v>IX 100</c:v>
                </c:pt>
                <c:pt idx="5">
                  <c:v/>
                </c:pt>
                <c:pt idx="6">
                  <c:v/>
                </c:pt>
                <c:pt idx="7">
                  <c:v/>
                </c:pt>
                <c:pt idx="8">
                  <c:v/>
                </c:pt>
              </c:strCache>
            </c:strRef>
          </c:cat>
          <c:val>
            <c:numRef>
              <c:f>Sheet1!$F$2:$F$10</c:f>
              <c:numCache>
                <c:formatCode>General</c:formatCode>
                <c:ptCount val="9"/>
                <c:pt idx="6">
                  <c:v>6027.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0.5"/>
          <c:min val="815.78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15</c:v>
                </c:pt>
                <c:pt idx="2">
                  <c:v/>
                </c:pt>
                <c:pt idx="3">
                  <c:v/>
                </c:pt>
                <c:pt idx="4">
                  <c:v/>
                </c:pt>
                <c:pt idx="5">
                  <c:v/>
                </c:pt>
                <c:pt idx="6">
                  <c:v/>
                </c:pt>
                <c:pt idx="7">
                  <c:v/>
                </c:pt>
                <c:pt idx="8">
                  <c:v/>
                </c:pt>
              </c:strCache>
            </c:strRef>
          </c:cat>
          <c:val>
            <c:numRef>
              <c:f>Sheet1!$B$2:$B$10</c:f>
              <c:numCache>
                <c:formatCode>General</c:formatCode>
                <c:ptCount val="9"/>
                <c:pt idx="0">
                  <c:v>1373.36</c:v>
                </c:pt>
                <c:pt idx="1">
                  <c:v>1443.93</c:v>
                </c:pt>
                <c:pt idx="2">
                  <c:v>1802.64</c:v>
                </c:pt>
                <c:pt idx="3">
                  <c:v>1635.95</c:v>
                </c:pt>
                <c:pt idx="4">
                  <c:v>816.28</c:v>
                </c:pt>
                <c:pt idx="5">
                  <c:v>12933.64</c:v>
                </c:pt>
                <c:pt idx="6">
                  <c:v>6027.0</c:v>
                </c:pt>
                <c:pt idx="7">
                  <c:v>18750.0</c:v>
                </c:pt>
                <c:pt idx="8">
                  <c:v>2339.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15</a:t>
                    </a:r>
                  </a:p>
                  <a:p>
                    <a:r>
                      <a:t>1712.6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15</c:v>
                </c:pt>
                <c:pt idx="2">
                  <c:v/>
                </c:pt>
                <c:pt idx="3">
                  <c:v/>
                </c:pt>
                <c:pt idx="4">
                  <c:v/>
                </c:pt>
                <c:pt idx="5">
                  <c:v/>
                </c:pt>
                <c:pt idx="6">
                  <c:v/>
                </c:pt>
                <c:pt idx="7">
                  <c:v/>
                </c:pt>
                <c:pt idx="8">
                  <c:v/>
                </c:pt>
              </c:strCache>
            </c:strRef>
          </c:cat>
          <c:val>
            <c:numRef>
              <c:f>Sheet1!$C$2:$C$10</c:f>
              <c:numCache>
                <c:formatCode>General</c:formatCode>
                <c:ptCount val="9"/>
                <c:pt idx="1">
                  <c:v>1712.6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15</c:v>
                </c:pt>
                <c:pt idx="2">
                  <c:v/>
                </c:pt>
                <c:pt idx="3">
                  <c:v/>
                </c:pt>
                <c:pt idx="4">
                  <c:v/>
                </c:pt>
                <c:pt idx="5">
                  <c:v/>
                </c:pt>
                <c:pt idx="6">
                  <c:v/>
                </c:pt>
                <c:pt idx="7">
                  <c:v/>
                </c:pt>
                <c:pt idx="8">
                  <c:v/>
                </c:pt>
              </c:strCache>
            </c:strRef>
          </c:cat>
          <c:val>
            <c:numRef>
              <c:f>Sheet1!$D$2:$D$10</c:f>
              <c:numCache>
                <c:formatCode>General</c:formatCode>
                <c:ptCount val="9"/>
                <c:pt idx="0">
                  <c:v>2635.83</c:v>
                </c:pt>
                <c:pt idx="1">
                  <c:v>1483.28</c:v>
                </c:pt>
                <c:pt idx="2">
                  <c:v>1738.0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15</c:v>
                </c:pt>
                <c:pt idx="2">
                  <c:v/>
                </c:pt>
                <c:pt idx="3">
                  <c:v/>
                </c:pt>
                <c:pt idx="4">
                  <c:v/>
                </c:pt>
                <c:pt idx="5">
                  <c:v/>
                </c:pt>
                <c:pt idx="6">
                  <c:v/>
                </c:pt>
                <c:pt idx="7">
                  <c:v/>
                </c:pt>
                <c:pt idx="8">
                  <c:v/>
                </c:pt>
              </c:strCache>
            </c:strRef>
          </c:cat>
          <c:val>
            <c:numRef>
              <c:f>Sheet1!$E$2:$E$10</c:f>
              <c:numCache>
                <c:formatCode>General</c:formatCode>
                <c:ptCount val="9"/>
                <c:pt idx="0">
                  <c:v>9003.47</c:v>
                </c:pt>
                <c:pt idx="2">
                  <c:v>1957.33</c:v>
                </c:pt>
                <c:pt idx="5">
                  <c:v>12933.6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Garnier</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
                </c:pt>
                <c:pt idx="1">
                  <c:v>IX 115</c:v>
                </c:pt>
                <c:pt idx="2">
                  <c:v/>
                </c:pt>
                <c:pt idx="3">
                  <c:v/>
                </c:pt>
                <c:pt idx="4">
                  <c:v/>
                </c:pt>
                <c:pt idx="5">
                  <c:v/>
                </c:pt>
                <c:pt idx="6">
                  <c:v/>
                </c:pt>
                <c:pt idx="7">
                  <c:v/>
                </c:pt>
                <c:pt idx="8">
                  <c:v/>
                </c:pt>
              </c:strCache>
            </c:strRef>
          </c:cat>
          <c:val>
            <c:numRef>
              <c:f>Sheet1!$F$2:$F$10</c:f>
              <c:numCache>
                <c:formatCode>General</c:formatCode>
                <c:ptCount val="9"/>
                <c:pt idx="6">
                  <c:v>6027.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0.5"/>
          <c:min val="815.78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8</c:v>
                </c:pt>
                <c:pt idx="1">
                  <c:v>IX 91</c:v>
                </c:pt>
                <c:pt idx="2">
                  <c:v/>
                </c:pt>
                <c:pt idx="3">
                  <c:v/>
                </c:pt>
                <c:pt idx="4">
                  <c:v/>
                </c:pt>
                <c:pt idx="5">
                  <c:v/>
                </c:pt>
                <c:pt idx="6">
                  <c:v/>
                </c:pt>
                <c:pt idx="7">
                  <c:v/>
                </c:pt>
                <c:pt idx="8">
                  <c:v/>
                </c:pt>
                <c:pt idx="9">
                  <c:v/>
                </c:pt>
                <c:pt idx="10">
                  <c:v/>
                </c:pt>
                <c:pt idx="11">
                  <c:v/>
                </c:pt>
              </c:strCache>
            </c:strRef>
          </c:cat>
          <c:val>
            <c:numRef>
              <c:f>Sheet1!$B$2:$B$13</c:f>
              <c:numCache>
                <c:formatCode>General</c:formatCode>
                <c:ptCount val="12"/>
                <c:pt idx="0">
                  <c:v>1845.3</c:v>
                </c:pt>
                <c:pt idx="1">
                  <c:v>1568.18</c:v>
                </c:pt>
                <c:pt idx="2">
                  <c:v>1958.31</c:v>
                </c:pt>
                <c:pt idx="3">
                  <c:v>1669.06</c:v>
                </c:pt>
                <c:pt idx="4">
                  <c:v>12153.21</c:v>
                </c:pt>
                <c:pt idx="5">
                  <c:v>2810.34</c:v>
                </c:pt>
                <c:pt idx="6">
                  <c:v>27179.17</c:v>
                </c:pt>
                <c:pt idx="7">
                  <c:v>1471.33</c:v>
                </c:pt>
                <c:pt idx="8">
                  <c:v>6628.09</c:v>
                </c:pt>
                <c:pt idx="9">
                  <c:v>2807.32</c:v>
                </c:pt>
                <c:pt idx="10">
                  <c:v>6577.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8</a:t>
                    </a:r>
                  </a:p>
                  <a:p>
                    <a:r>
                      <a:t>1270.36</a:t>
                    </a:r>
                  </a:p>
                </c:rich>
              </c:tx>
              <c:dLblPos val="l"/>
              <c:showLegendKey val="0"/>
              <c:showVal val="1"/>
              <c:showCatName val="0"/>
              <c:showSerName val="0"/>
              <c:showPercent val="0"/>
              <c:showBubbleSize val="0"/>
            </c:dLbl>
            <c:dLbl>
              <c:idx val="1"/>
              <c:tx>
                <c:rich>
                  <a:bodyPr/>
                  <a:lstStyle/>
                  <a:p>
                    <a:r>
                      <a:t>IX 91</a:t>
                    </a:r>
                  </a:p>
                  <a:p>
                    <a:r>
                      <a:t>1371.4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8</c:v>
                </c:pt>
                <c:pt idx="1">
                  <c:v>IX 91</c:v>
                </c:pt>
                <c:pt idx="2">
                  <c:v/>
                </c:pt>
                <c:pt idx="3">
                  <c:v/>
                </c:pt>
                <c:pt idx="4">
                  <c:v/>
                </c:pt>
                <c:pt idx="5">
                  <c:v/>
                </c:pt>
                <c:pt idx="6">
                  <c:v/>
                </c:pt>
                <c:pt idx="7">
                  <c:v/>
                </c:pt>
                <c:pt idx="8">
                  <c:v/>
                </c:pt>
                <c:pt idx="9">
                  <c:v/>
                </c:pt>
                <c:pt idx="10">
                  <c:v/>
                </c:pt>
                <c:pt idx="11">
                  <c:v/>
                </c:pt>
              </c:strCache>
            </c:strRef>
          </c:cat>
          <c:val>
            <c:numRef>
              <c:f>Sheet1!$C$2:$C$13</c:f>
              <c:numCache>
                <c:formatCode>General</c:formatCode>
                <c:ptCount val="12"/>
                <c:pt idx="0">
                  <c:v>1270.36</c:v>
                </c:pt>
                <c:pt idx="1">
                  <c:v>1371.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8</c:v>
                </c:pt>
                <c:pt idx="1">
                  <c:v>IX 91</c:v>
                </c:pt>
                <c:pt idx="2">
                  <c:v/>
                </c:pt>
                <c:pt idx="3">
                  <c:v/>
                </c:pt>
                <c:pt idx="4">
                  <c:v/>
                </c:pt>
                <c:pt idx="5">
                  <c:v/>
                </c:pt>
                <c:pt idx="6">
                  <c:v/>
                </c:pt>
                <c:pt idx="7">
                  <c:v/>
                </c:pt>
                <c:pt idx="8">
                  <c:v/>
                </c:pt>
                <c:pt idx="9">
                  <c:v/>
                </c:pt>
                <c:pt idx="10">
                  <c:v/>
                </c:pt>
                <c:pt idx="11">
                  <c:v/>
                </c:pt>
              </c:strCache>
            </c:strRef>
          </c:cat>
          <c:val>
            <c:numRef>
              <c:f>Sheet1!$D$2:$D$13</c:f>
              <c:numCache>
                <c:formatCode>General</c:formatCode>
                <c:ptCount val="12"/>
                <c:pt idx="0">
                  <c:v>2672.15</c:v>
                </c:pt>
                <c:pt idx="1">
                  <c:v>1512.31</c:v>
                </c:pt>
                <c:pt idx="2">
                  <c:v>1563.29</c:v>
                </c:pt>
                <c:pt idx="4">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8</c:v>
                </c:pt>
                <c:pt idx="1">
                  <c:v>IX 91</c:v>
                </c:pt>
                <c:pt idx="2">
                  <c:v/>
                </c:pt>
                <c:pt idx="3">
                  <c:v/>
                </c:pt>
                <c:pt idx="4">
                  <c:v/>
                </c:pt>
                <c:pt idx="5">
                  <c:v/>
                </c:pt>
                <c:pt idx="6">
                  <c:v/>
                </c:pt>
                <c:pt idx="7">
                  <c:v/>
                </c:pt>
                <c:pt idx="8">
                  <c:v/>
                </c:pt>
                <c:pt idx="9">
                  <c:v/>
                </c:pt>
                <c:pt idx="10">
                  <c:v/>
                </c:pt>
                <c:pt idx="11">
                  <c:v/>
                </c:pt>
              </c:strCache>
            </c:strRef>
          </c:cat>
          <c:val>
            <c:numRef>
              <c:f>Sheet1!$E$2:$E$13</c:f>
              <c:numCache>
                <c:formatCode>General</c:formatCode>
                <c:ptCount val="12"/>
                <c:pt idx="0">
                  <c:v>13060.86</c:v>
                </c:pt>
                <c:pt idx="1">
                  <c:v>7747.75</c:v>
                </c:pt>
                <c:pt idx="2">
                  <c:v>2677.76</c:v>
                </c:pt>
                <c:pt idx="3">
                  <c:v>3462.2</c:v>
                </c:pt>
                <c:pt idx="4">
                  <c:v>14219.24</c:v>
                </c:pt>
                <c:pt idx="5">
                  <c:v>3219.54</c:v>
                </c:pt>
                <c:pt idx="6">
                  <c:v>5809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8</c:v>
                </c:pt>
                <c:pt idx="1">
                  <c:v>IX 91</c:v>
                </c:pt>
                <c:pt idx="2">
                  <c:v/>
                </c:pt>
                <c:pt idx="3">
                  <c:v/>
                </c:pt>
                <c:pt idx="4">
                  <c:v/>
                </c:pt>
                <c:pt idx="5">
                  <c:v/>
                </c:pt>
                <c:pt idx="6">
                  <c:v/>
                </c:pt>
                <c:pt idx="7">
                  <c:v/>
                </c:pt>
                <c:pt idx="8">
                  <c:v/>
                </c:pt>
                <c:pt idx="9">
                  <c:v/>
                </c:pt>
                <c:pt idx="10">
                  <c:v/>
                </c:pt>
                <c:pt idx="11">
                  <c:v/>
                </c:pt>
              </c:strCache>
            </c:strRef>
          </c:cat>
          <c:val>
            <c:numRef>
              <c:f>Sheet1!$F$2:$F$13</c:f>
              <c:numCache>
                <c:formatCode>General</c:formatCode>
                <c:ptCount val="12"/>
                <c:pt idx="0">
                  <c:v>8981.66</c:v>
                </c:pt>
                <c:pt idx="1">
                  <c:v>4258.88</c:v>
                </c:pt>
                <c:pt idx="2">
                  <c:v>12782.08</c:v>
                </c:pt>
                <c:pt idx="4">
                  <c:v>12113.39</c:v>
                </c:pt>
                <c:pt idx="10">
                  <c:v>5944.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091.2831"/>
          <c:min val="1269.85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5</c:v>
                </c:pt>
                <c:pt idx="1">
                  <c:v>IX 95</c:v>
                </c:pt>
                <c:pt idx="2">
                  <c:v/>
                </c:pt>
                <c:pt idx="3">
                  <c:v>IX 100</c:v>
                </c:pt>
                <c:pt idx="4">
                  <c:v>IX 43</c:v>
                </c:pt>
                <c:pt idx="5">
                  <c:v/>
                </c:pt>
                <c:pt idx="6">
                  <c:v/>
                </c:pt>
                <c:pt idx="7">
                  <c:v>IX 100</c:v>
                </c:pt>
                <c:pt idx="8">
                  <c:v/>
                </c:pt>
                <c:pt idx="9">
                  <c:v>IX 100</c:v>
                </c:pt>
                <c:pt idx="10">
                  <c:v/>
                </c:pt>
                <c:pt idx="11">
                  <c:v/>
                </c:pt>
              </c:strCache>
            </c:strRef>
          </c:cat>
          <c:val>
            <c:numRef>
              <c:f>Sheet1!$B$2:$B$13</c:f>
              <c:numCache>
                <c:formatCode>General</c:formatCode>
                <c:ptCount val="12"/>
                <c:pt idx="0">
                  <c:v>1845.3</c:v>
                </c:pt>
                <c:pt idx="1">
                  <c:v>1568.18</c:v>
                </c:pt>
                <c:pt idx="2">
                  <c:v>1958.31</c:v>
                </c:pt>
                <c:pt idx="3">
                  <c:v>1669.06</c:v>
                </c:pt>
                <c:pt idx="4">
                  <c:v>12153.21</c:v>
                </c:pt>
                <c:pt idx="5">
                  <c:v>2810.34</c:v>
                </c:pt>
                <c:pt idx="6">
                  <c:v>27179.17</c:v>
                </c:pt>
                <c:pt idx="7">
                  <c:v>1471.33</c:v>
                </c:pt>
                <c:pt idx="8">
                  <c:v>6628.09</c:v>
                </c:pt>
                <c:pt idx="9">
                  <c:v>2807.32</c:v>
                </c:pt>
                <c:pt idx="10">
                  <c:v>6577.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anana Boa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5</a:t>
                    </a:r>
                  </a:p>
                  <a:p>
                    <a:r>
                      <a:t>1190.26</a:t>
                    </a:r>
                  </a:p>
                </c:rich>
              </c:tx>
              <c:dLblPos val="l"/>
              <c:showLegendKey val="0"/>
              <c:showVal val="1"/>
              <c:showCatName val="0"/>
              <c:showSerName val="0"/>
              <c:showPercent val="0"/>
              <c:showBubbleSize val="0"/>
            </c:dLbl>
            <c:dLbl>
              <c:idx val="1"/>
              <c:tx>
                <c:rich>
                  <a:bodyPr/>
                  <a:lstStyle/>
                  <a:p>
                    <a:r>
                      <a:t>IX 95</a:t>
                    </a:r>
                  </a:p>
                  <a:p>
                    <a:r>
                      <a:t>1430.3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1582.46</a:t>
                    </a:r>
                  </a:p>
                </c:rich>
              </c:tx>
              <c:dLblPos val="l"/>
              <c:showLegendKey val="0"/>
              <c:showVal val="1"/>
              <c:showCatName val="0"/>
              <c:showSerName val="0"/>
              <c:showPercent val="0"/>
              <c:showBubbleSize val="0"/>
            </c:dLbl>
            <c:dLbl>
              <c:idx val="4"/>
              <c:tx>
                <c:rich>
                  <a:bodyPr/>
                  <a:lstStyle/>
                  <a:p>
                    <a:r>
                      <a:t>IX 43</a:t>
                    </a:r>
                  </a:p>
                  <a:p>
                    <a:r>
                      <a:t>6153.6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IX 100</a:t>
                    </a:r>
                  </a:p>
                  <a:p>
                    <a:r>
                      <a:t>804.4</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IX 100</a:t>
                    </a:r>
                  </a:p>
                  <a:p>
                    <a:r>
                      <a:t>2807.32</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5</c:v>
                </c:pt>
                <c:pt idx="1">
                  <c:v>IX 95</c:v>
                </c:pt>
                <c:pt idx="2">
                  <c:v/>
                </c:pt>
                <c:pt idx="3">
                  <c:v>IX 100</c:v>
                </c:pt>
                <c:pt idx="4">
                  <c:v>IX 43</c:v>
                </c:pt>
                <c:pt idx="5">
                  <c:v/>
                </c:pt>
                <c:pt idx="6">
                  <c:v/>
                </c:pt>
                <c:pt idx="7">
                  <c:v>IX 100</c:v>
                </c:pt>
                <c:pt idx="8">
                  <c:v/>
                </c:pt>
                <c:pt idx="9">
                  <c:v>IX 100</c:v>
                </c:pt>
                <c:pt idx="10">
                  <c:v/>
                </c:pt>
                <c:pt idx="11">
                  <c:v/>
                </c:pt>
              </c:strCache>
            </c:strRef>
          </c:cat>
          <c:val>
            <c:numRef>
              <c:f>Sheet1!$C$2:$C$13</c:f>
              <c:numCache>
                <c:formatCode>General</c:formatCode>
                <c:ptCount val="12"/>
                <c:pt idx="0">
                  <c:v>1190.26</c:v>
                </c:pt>
                <c:pt idx="1">
                  <c:v>1430.37</c:v>
                </c:pt>
                <c:pt idx="3">
                  <c:v>1582.46</c:v>
                </c:pt>
                <c:pt idx="4">
                  <c:v>6153.66</c:v>
                </c:pt>
                <c:pt idx="7">
                  <c:v>804.4</c:v>
                </c:pt>
                <c:pt idx="9">
                  <c:v>2807.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5</c:v>
                </c:pt>
                <c:pt idx="1">
                  <c:v>IX 95</c:v>
                </c:pt>
                <c:pt idx="2">
                  <c:v/>
                </c:pt>
                <c:pt idx="3">
                  <c:v>IX 100</c:v>
                </c:pt>
                <c:pt idx="4">
                  <c:v>IX 43</c:v>
                </c:pt>
                <c:pt idx="5">
                  <c:v/>
                </c:pt>
                <c:pt idx="6">
                  <c:v/>
                </c:pt>
                <c:pt idx="7">
                  <c:v>IX 100</c:v>
                </c:pt>
                <c:pt idx="8">
                  <c:v/>
                </c:pt>
                <c:pt idx="9">
                  <c:v>IX 100</c:v>
                </c:pt>
                <c:pt idx="10">
                  <c:v/>
                </c:pt>
                <c:pt idx="11">
                  <c:v/>
                </c:pt>
              </c:strCache>
            </c:strRef>
          </c:cat>
          <c:val>
            <c:numRef>
              <c:f>Sheet1!$D$2:$D$13</c:f>
              <c:numCache>
                <c:formatCode>General</c:formatCode>
                <c:ptCount val="12"/>
                <c:pt idx="0">
                  <c:v>2672.15</c:v>
                </c:pt>
                <c:pt idx="1">
                  <c:v>1512.31</c:v>
                </c:pt>
                <c:pt idx="2">
                  <c:v>1563.29</c:v>
                </c:pt>
                <c:pt idx="4">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5</c:v>
                </c:pt>
                <c:pt idx="1">
                  <c:v>IX 95</c:v>
                </c:pt>
                <c:pt idx="2">
                  <c:v/>
                </c:pt>
                <c:pt idx="3">
                  <c:v>IX 100</c:v>
                </c:pt>
                <c:pt idx="4">
                  <c:v>IX 43</c:v>
                </c:pt>
                <c:pt idx="5">
                  <c:v/>
                </c:pt>
                <c:pt idx="6">
                  <c:v/>
                </c:pt>
                <c:pt idx="7">
                  <c:v>IX 100</c:v>
                </c:pt>
                <c:pt idx="8">
                  <c:v/>
                </c:pt>
                <c:pt idx="9">
                  <c:v>IX 100</c:v>
                </c:pt>
                <c:pt idx="10">
                  <c:v/>
                </c:pt>
                <c:pt idx="11">
                  <c:v/>
                </c:pt>
              </c:strCache>
            </c:strRef>
          </c:cat>
          <c:val>
            <c:numRef>
              <c:f>Sheet1!$E$2:$E$13</c:f>
              <c:numCache>
                <c:formatCode>General</c:formatCode>
                <c:ptCount val="12"/>
                <c:pt idx="0">
                  <c:v>13060.86</c:v>
                </c:pt>
                <c:pt idx="1">
                  <c:v>7747.75</c:v>
                </c:pt>
                <c:pt idx="2">
                  <c:v>2677.76</c:v>
                </c:pt>
                <c:pt idx="3">
                  <c:v>3462.2</c:v>
                </c:pt>
                <c:pt idx="4">
                  <c:v>14219.24</c:v>
                </c:pt>
                <c:pt idx="5">
                  <c:v>3219.54</c:v>
                </c:pt>
                <c:pt idx="6">
                  <c:v>5809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IX 45</c:v>
                </c:pt>
                <c:pt idx="1">
                  <c:v>IX 95</c:v>
                </c:pt>
                <c:pt idx="2">
                  <c:v/>
                </c:pt>
                <c:pt idx="3">
                  <c:v>IX 100</c:v>
                </c:pt>
                <c:pt idx="4">
                  <c:v>IX 43</c:v>
                </c:pt>
                <c:pt idx="5">
                  <c:v/>
                </c:pt>
                <c:pt idx="6">
                  <c:v/>
                </c:pt>
                <c:pt idx="7">
                  <c:v>IX 100</c:v>
                </c:pt>
                <c:pt idx="8">
                  <c:v/>
                </c:pt>
                <c:pt idx="9">
                  <c:v>IX 100</c:v>
                </c:pt>
                <c:pt idx="10">
                  <c:v/>
                </c:pt>
                <c:pt idx="11">
                  <c:v/>
                </c:pt>
              </c:strCache>
            </c:strRef>
          </c:cat>
          <c:val>
            <c:numRef>
              <c:f>Sheet1!$F$2:$F$13</c:f>
              <c:numCache>
                <c:formatCode>General</c:formatCode>
                <c:ptCount val="12"/>
                <c:pt idx="0">
                  <c:v>8981.66</c:v>
                </c:pt>
                <c:pt idx="1">
                  <c:v>4258.88</c:v>
                </c:pt>
                <c:pt idx="2">
                  <c:v>12782.08</c:v>
                </c:pt>
                <c:pt idx="4">
                  <c:v>12113.39</c:v>
                </c:pt>
                <c:pt idx="10">
                  <c:v>5944.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091.2831"/>
          <c:min val="803.89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B$2:$B$2</c:f>
              <c:numCache>
                <c:formatCode>General</c:formatCode>
                <c:ptCount val="1"/>
                <c:pt idx="0">
                  <c:v>2435.2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223</a:t>
                    </a:r>
                  </a:p>
                  <a:p>
                    <a:r>
                      <a:t>3923.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C$2:$C$2</c:f>
              <c:numCache>
                <c:formatCode>General</c:formatCode>
                <c:ptCount val="1"/>
                <c:pt idx="0">
                  <c:v>392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D$2:$D$2</c:f>
              <c:numCache>
                <c:formatCode>General</c:formatCode>
                <c:ptCount val="1"/>
                <c:pt idx="0">
                  <c:v>1758.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E$2:$E$2</c:f>
              <c:numCache>
                <c:formatCode>General</c:formatCode>
                <c:ptCount val="1"/>
                <c:pt idx="0">
                  <c:v>10539.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223</c:v>
                </c:pt>
              </c:strCache>
            </c:strRef>
          </c:cat>
          <c:val>
            <c:numRef>
              <c:f>Sheet1!$F$2:$F$2</c:f>
              <c:numCache>
                <c:formatCode>General</c:formatCode>
                <c:ptCount val="1"/>
                <c:pt idx="0">
                  <c:v>7854.2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40.3647"/>
          <c:min val="1757.70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24</c:v>
                </c:pt>
                <c:pt idx="2">
                  <c:v/>
                </c:pt>
                <c:pt idx="3">
                  <c:v/>
                </c:pt>
                <c:pt idx="4">
                  <c:v/>
                </c:pt>
                <c:pt idx="5">
                  <c:v/>
                </c:pt>
                <c:pt idx="6">
                  <c:v/>
                </c:pt>
                <c:pt idx="7">
                  <c:v/>
                </c:pt>
                <c:pt idx="8">
                  <c:v/>
                </c:pt>
                <c:pt idx="9">
                  <c:v/>
                </c:pt>
                <c:pt idx="10">
                  <c:v/>
                </c:pt>
                <c:pt idx="11">
                  <c:v/>
                </c:pt>
              </c:strCache>
            </c:strRef>
          </c:cat>
          <c:val>
            <c:numRef>
              <c:f>Sheet1!$B$2:$B$13</c:f>
              <c:numCache>
                <c:formatCode>General</c:formatCode>
                <c:ptCount val="12"/>
                <c:pt idx="0">
                  <c:v>1845.3</c:v>
                </c:pt>
                <c:pt idx="1">
                  <c:v>1568.18</c:v>
                </c:pt>
                <c:pt idx="2">
                  <c:v>1958.31</c:v>
                </c:pt>
                <c:pt idx="3">
                  <c:v>1669.06</c:v>
                </c:pt>
                <c:pt idx="4">
                  <c:v>12153.21</c:v>
                </c:pt>
                <c:pt idx="5">
                  <c:v>2810.34</c:v>
                </c:pt>
                <c:pt idx="6">
                  <c:v>27179.17</c:v>
                </c:pt>
                <c:pt idx="7">
                  <c:v>1471.33</c:v>
                </c:pt>
                <c:pt idx="8">
                  <c:v>6628.09</c:v>
                </c:pt>
                <c:pt idx="9">
                  <c:v>2807.32</c:v>
                </c:pt>
                <c:pt idx="10">
                  <c:v>6577.5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auty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324</a:t>
                    </a:r>
                  </a:p>
                  <a:p>
                    <a:r>
                      <a:t>4900.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tx>
                <c:rich>
                  <a:bodyPr/>
                  <a:lstStyle/>
                  <a:p>
                    <a:r>
                      <a:t>None</a:t>
                    </a:r>
                  </a:p>
                  <a:p>
                    <a:r>
                      <a:t>None</a:t>
                    </a:r>
                  </a:p>
                </c:rich>
              </c:tx>
              <c:numFmt formatCode="#,##0.00" sourceLinked="0"/>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dLbl>
              <c:idx val="7"/>
              <c:tx>
                <c:rich>
                  <a:bodyPr/>
                  <a:lstStyle/>
                  <a:p>
                    <a:r>
                      <a:t>None</a:t>
                    </a:r>
                  </a:p>
                  <a:p>
                    <a:r>
                      <a:t>None</a:t>
                    </a:r>
                  </a:p>
                </c:rich>
              </c:tx>
              <c:dLblPos val="l"/>
              <c:showLegendKey val="0"/>
              <c:showVal val="1"/>
              <c:showCatName val="0"/>
              <c:showSerName val="0"/>
              <c:showPercent val="0"/>
              <c:showBubbleSize val="0"/>
            </c:dLbl>
            <c:dLbl>
              <c:idx val="8"/>
              <c:tx>
                <c:rich>
                  <a:bodyPr/>
                  <a:lstStyle/>
                  <a:p>
                    <a:r>
                      <a:t>None</a:t>
                    </a:r>
                  </a:p>
                  <a:p>
                    <a:r>
                      <a:t>None</a:t>
                    </a:r>
                  </a:p>
                </c:rich>
              </c:tx>
              <c:dLblPos val="l"/>
              <c:showLegendKey val="0"/>
              <c:showVal val="1"/>
              <c:showCatName val="0"/>
              <c:showSerName val="0"/>
              <c:showPercent val="0"/>
              <c:showBubbleSize val="0"/>
            </c:dLbl>
            <c:dLbl>
              <c:idx val="9"/>
              <c:tx>
                <c:rich>
                  <a:bodyPr/>
                  <a:lstStyle/>
                  <a:p>
                    <a:r>
                      <a:t>None</a:t>
                    </a:r>
                  </a:p>
                  <a:p>
                    <a:r>
                      <a:t>None</a:t>
                    </a:r>
                  </a:p>
                </c:rich>
              </c:tx>
              <c:dLblPos val="l"/>
              <c:showLegendKey val="0"/>
              <c:showVal val="1"/>
              <c:showCatName val="0"/>
              <c:showSerName val="0"/>
              <c:showPercent val="0"/>
              <c:showBubbleSize val="0"/>
            </c:dLbl>
            <c:dLbl>
              <c:idx val="10"/>
              <c:tx>
                <c:rich>
                  <a:bodyPr/>
                  <a:lstStyle/>
                  <a:p>
                    <a:r>
                      <a:t>None</a:t>
                    </a:r>
                  </a:p>
                  <a:p>
                    <a:r>
                      <a:t>None</a:t>
                    </a:r>
                  </a:p>
                </c:rich>
              </c:tx>
              <c:dLblPos val="l"/>
              <c:showLegendKey val="0"/>
              <c:showVal val="1"/>
              <c:showCatName val="0"/>
              <c:showSerName val="0"/>
              <c:showPercent val="0"/>
              <c:showBubbleSize val="0"/>
            </c:dLbl>
            <c:dLbl>
              <c:idx val="11"/>
              <c:tx>
                <c:rich>
                  <a:bodyPr/>
                  <a:lstStyle/>
                  <a:p>
                    <a:r>
                      <a:t>None</a:t>
                    </a:r>
                  </a:p>
                  <a:p>
                    <a:r>
                      <a:t>None</a:t>
                    </a:r>
                  </a:p>
                </c:rich>
              </c:tx>
              <c:dLblPos val="l"/>
              <c:showLegendKey val="0"/>
              <c:showVal val="1"/>
              <c:showCatName val="0"/>
              <c:showSerName val="0"/>
              <c:showPercent val="0"/>
              <c:showBubbleSize val="0"/>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24</c:v>
                </c:pt>
                <c:pt idx="2">
                  <c:v/>
                </c:pt>
                <c:pt idx="3">
                  <c:v/>
                </c:pt>
                <c:pt idx="4">
                  <c:v/>
                </c:pt>
                <c:pt idx="5">
                  <c:v/>
                </c:pt>
                <c:pt idx="6">
                  <c:v/>
                </c:pt>
                <c:pt idx="7">
                  <c:v/>
                </c:pt>
                <c:pt idx="8">
                  <c:v/>
                </c:pt>
                <c:pt idx="9">
                  <c:v/>
                </c:pt>
                <c:pt idx="10">
                  <c:v/>
                </c:pt>
                <c:pt idx="11">
                  <c:v/>
                </c:pt>
              </c:strCache>
            </c:strRef>
          </c:cat>
          <c:val>
            <c:numRef>
              <c:f>Sheet1!$C$2:$C$13</c:f>
              <c:numCache>
                <c:formatCode>General</c:formatCode>
                <c:ptCount val="12"/>
                <c:pt idx="1">
                  <c:v>4900.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24</c:v>
                </c:pt>
                <c:pt idx="2">
                  <c:v/>
                </c:pt>
                <c:pt idx="3">
                  <c:v/>
                </c:pt>
                <c:pt idx="4">
                  <c:v/>
                </c:pt>
                <c:pt idx="5">
                  <c:v/>
                </c:pt>
                <c:pt idx="6">
                  <c:v/>
                </c:pt>
                <c:pt idx="7">
                  <c:v/>
                </c:pt>
                <c:pt idx="8">
                  <c:v/>
                </c:pt>
                <c:pt idx="9">
                  <c:v/>
                </c:pt>
                <c:pt idx="10">
                  <c:v/>
                </c:pt>
                <c:pt idx="11">
                  <c:v/>
                </c:pt>
              </c:strCache>
            </c:strRef>
          </c:cat>
          <c:val>
            <c:numRef>
              <c:f>Sheet1!$D$2:$D$13</c:f>
              <c:numCache>
                <c:formatCode>General</c:formatCode>
                <c:ptCount val="12"/>
                <c:pt idx="0">
                  <c:v>2672.15</c:v>
                </c:pt>
                <c:pt idx="1">
                  <c:v>1512.31</c:v>
                </c:pt>
                <c:pt idx="2">
                  <c:v>1563.29</c:v>
                </c:pt>
                <c:pt idx="4">
                  <c:v>7698.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Isdi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24</c:v>
                </c:pt>
                <c:pt idx="2">
                  <c:v/>
                </c:pt>
                <c:pt idx="3">
                  <c:v/>
                </c:pt>
                <c:pt idx="4">
                  <c:v/>
                </c:pt>
                <c:pt idx="5">
                  <c:v/>
                </c:pt>
                <c:pt idx="6">
                  <c:v/>
                </c:pt>
                <c:pt idx="7">
                  <c:v/>
                </c:pt>
                <c:pt idx="8">
                  <c:v/>
                </c:pt>
                <c:pt idx="9">
                  <c:v/>
                </c:pt>
                <c:pt idx="10">
                  <c:v/>
                </c:pt>
                <c:pt idx="11">
                  <c:v/>
                </c:pt>
              </c:strCache>
            </c:strRef>
          </c:cat>
          <c:val>
            <c:numRef>
              <c:f>Sheet1!$E$2:$E$13</c:f>
              <c:numCache>
                <c:formatCode>General</c:formatCode>
                <c:ptCount val="12"/>
                <c:pt idx="0">
                  <c:v>13060.86</c:v>
                </c:pt>
                <c:pt idx="1">
                  <c:v>7747.75</c:v>
                </c:pt>
                <c:pt idx="2">
                  <c:v>2677.76</c:v>
                </c:pt>
                <c:pt idx="3">
                  <c:v>3462.2</c:v>
                </c:pt>
                <c:pt idx="4">
                  <c:v>14219.24</c:v>
                </c:pt>
                <c:pt idx="5">
                  <c:v>3219.54</c:v>
                </c:pt>
                <c:pt idx="6">
                  <c:v>5809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Eucer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c:pt>
                <c:pt idx="1">
                  <c:v>IX 324</c:v>
                </c:pt>
                <c:pt idx="2">
                  <c:v/>
                </c:pt>
                <c:pt idx="3">
                  <c:v/>
                </c:pt>
                <c:pt idx="4">
                  <c:v/>
                </c:pt>
                <c:pt idx="5">
                  <c:v/>
                </c:pt>
                <c:pt idx="6">
                  <c:v/>
                </c:pt>
                <c:pt idx="7">
                  <c:v/>
                </c:pt>
                <c:pt idx="8">
                  <c:v/>
                </c:pt>
                <c:pt idx="9">
                  <c:v/>
                </c:pt>
                <c:pt idx="10">
                  <c:v/>
                </c:pt>
                <c:pt idx="11">
                  <c:v/>
                </c:pt>
              </c:strCache>
            </c:strRef>
          </c:cat>
          <c:val>
            <c:numRef>
              <c:f>Sheet1!$F$2:$F$13</c:f>
              <c:numCache>
                <c:formatCode>General</c:formatCode>
                <c:ptCount val="12"/>
                <c:pt idx="0">
                  <c:v>8981.66</c:v>
                </c:pt>
                <c:pt idx="1">
                  <c:v>4258.88</c:v>
                </c:pt>
                <c:pt idx="2">
                  <c:v>12782.08</c:v>
                </c:pt>
                <c:pt idx="4">
                  <c:v>12113.39</c:v>
                </c:pt>
                <c:pt idx="10">
                  <c:v>5944.1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091.2831"/>
          <c:min val="1470.834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B$2:$B$2</c:f>
              <c:numCache>
                <c:formatCode>General</c:formatCode>
                <c:ptCount val="1"/>
                <c:pt idx="0">
                  <c:v>2479.5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Hawaiian Tropic</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9</a:t>
                    </a:r>
                  </a:p>
                  <a:p>
                    <a:r>
                      <a:t>1227.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C$2:$C$2</c:f>
              <c:numCache>
                <c:formatCode>General</c:formatCode>
                <c:ptCount val="1"/>
                <c:pt idx="0">
                  <c:v>1227.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ve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D$2:$D$2</c:f>
              <c:numCache>
                <c:formatCode>General</c:formatCode>
                <c:ptCount val="1"/>
                <c:pt idx="0">
                  <c:v>1767.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Roche-Posa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E$2:$E$2</c:f>
              <c:numCache>
                <c:formatCode>General</c:formatCode>
                <c:ptCount val="1"/>
                <c:pt idx="0">
                  <c:v>10861.3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ven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69</c:v>
                </c:pt>
              </c:strCache>
            </c:strRef>
          </c:cat>
          <c:val>
            <c:numRef>
              <c:f>Sheet1!$F$2:$F$2</c:f>
              <c:numCache>
                <c:formatCode>General</c:formatCode>
                <c:ptCount val="1"/>
                <c:pt idx="0">
                  <c:v>7764.7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861.846"/>
          <c:min val="1226.897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53789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88913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2849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9962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04247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530931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6399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80934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678941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069940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27136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868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09646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533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6642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939377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52984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9244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426019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36803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24328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14628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15574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6359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537947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50506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800462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Convenience + Farmacias Cad + Hard Discounter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097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42441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985480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06157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Hawaiian Tropic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69218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anana Boat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4420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Canal Tradic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8.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13590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auty Care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80622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6% | -7.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03251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4% | -7.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36822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8%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07180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ra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eru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5% | 3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260309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2%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74040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603695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6% | -7.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44134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940770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74144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vs. Competition | P12M | Autos Scanning</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10780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4% | -7.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055409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86662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81866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8%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07326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92392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ra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eru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793269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ra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eru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5% | 3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18937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ra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eru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153570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Hawaiian Tropic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669089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anana Boat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2%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21835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50887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auty Care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229206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6% | -7.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93012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4% | -7.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172383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8%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835380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ra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eru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5% | 3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024224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0.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2%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03338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808376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6% | -7.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351657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Nat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76450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00853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anana Boat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920118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4% | -7.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643531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Canal Moderno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8938972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5388569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8%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8%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671497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Convenience + Farmacias Cad + Hard Discounters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0%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45304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ra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eru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 | -6.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27914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ra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eru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 | -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5.5% | 34.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779964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Canal Tradicional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pra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eru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1%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1096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Hawaiian Tropic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3%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541150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anana Boat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2%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5519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auty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445091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auty Care vs. Competition | P12M | Autos Scanning | Sunscree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088136">
                  <a:extLst>
                    <a:ext uri="{9D8B030D-6E8A-4147-A177-3AD203B41FA5}">
                      <a16:colId xmlns:a16="http://schemas.microsoft.com/office/drawing/2014/main" val="2253286919"/>
                    </a:ext>
                  </a:extLst>
                </a:gridCol>
                <a:gridCol w="1088136">
                  <a:extLst>
                    <a:ext uri="{9D8B030D-6E8A-4147-A177-3AD203B41FA5}">
                      <a16:colId xmlns:a16="http://schemas.microsoft.com/office/drawing/2014/main" val="154020430"/>
                    </a:ext>
                  </a:extLst>
                </a:gridCol>
                <a:gridCol w="1088136">
                  <a:extLst>
                    <a:ext uri="{9D8B030D-6E8A-4147-A177-3AD203B41FA5}">
                      <a16:colId xmlns:a16="http://schemas.microsoft.com/office/drawing/2014/main" val="3075602312"/>
                    </a:ext>
                  </a:extLst>
                </a:gridCol>
                <a:gridCol w="1088136">
                  <a:extLst>
                    <a:ext uri="{9D8B030D-6E8A-4147-A177-3AD203B41FA5}">
                      <a16:colId xmlns:a16="http://schemas.microsoft.com/office/drawing/2014/main" val="1046274436"/>
                    </a:ext>
                  </a:extLst>
                </a:gridCol>
                <a:gridCol w="1088136">
                  <a:extLst>
                    <a:ext uri="{9D8B030D-6E8A-4147-A177-3AD203B41FA5}">
                      <a16:colId xmlns:a16="http://schemas.microsoft.com/office/drawing/2014/main" val="3349060675"/>
                    </a:ext>
                  </a:extLst>
                </a:gridCol>
                <a:gridCol w="1088136">
                  <a:extLst>
                    <a:ext uri="{9D8B030D-6E8A-4147-A177-3AD203B41FA5}">
                      <a16:colId xmlns:a16="http://schemas.microsoft.com/office/drawing/2014/main" val="2862936788"/>
                    </a:ext>
                  </a:extLst>
                </a:gridCol>
                <a:gridCol w="1088136">
                  <a:extLst>
                    <a:ext uri="{9D8B030D-6E8A-4147-A177-3AD203B41FA5}">
                      <a16:colId xmlns:a16="http://schemas.microsoft.com/office/drawing/2014/main" val="137792026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Crema</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iq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Ge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Loc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Fluido</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Aceite</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 Stic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620588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7/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Hawaiian Tropic vs. Competition | P12M | Canal Modern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unscree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3619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7920</Words>
  <Application>Microsoft Office PowerPoint</Application>
  <PresentationFormat>On-screen Show (16:9)</PresentationFormat>
  <Paragraphs>1680</Paragraphs>
  <Slides>80</Slides>
  <Notes>8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0</vt:i4>
      </vt:variant>
    </vt:vector>
  </HeadingPairs>
  <TitlesOfParts>
    <vt:vector size="9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1T13:0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